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</p:sldMasterIdLst>
  <p:notesMasterIdLst>
    <p:notesMasterId r:id="rId24"/>
  </p:notesMasterIdLst>
  <p:sldIdLst>
    <p:sldId id="297" r:id="rId5"/>
    <p:sldId id="8323" r:id="rId6"/>
    <p:sldId id="8333" r:id="rId7"/>
    <p:sldId id="8325" r:id="rId8"/>
    <p:sldId id="8329" r:id="rId9"/>
    <p:sldId id="8328" r:id="rId10"/>
    <p:sldId id="8311" r:id="rId11"/>
    <p:sldId id="8327" r:id="rId12"/>
    <p:sldId id="8330" r:id="rId13"/>
    <p:sldId id="8331" r:id="rId14"/>
    <p:sldId id="8332" r:id="rId15"/>
    <p:sldId id="8334" r:id="rId16"/>
    <p:sldId id="8335" r:id="rId17"/>
    <p:sldId id="8336" r:id="rId18"/>
    <p:sldId id="8337" r:id="rId19"/>
    <p:sldId id="261" r:id="rId20"/>
    <p:sldId id="8338" r:id="rId21"/>
    <p:sldId id="318" r:id="rId22"/>
    <p:sldId id="293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ey Hurley" initials="CH" lastIdx="22" clrIdx="0">
    <p:extLst>
      <p:ext uri="{19B8F6BF-5375-455C-9EA6-DF929625EA0E}">
        <p15:presenceInfo xmlns:p15="http://schemas.microsoft.com/office/powerpoint/2012/main" userId="S::churley@gilead.com::3ac109bb-bf51-4c72-9de8-d893b15726ec" providerId="AD"/>
      </p:ext>
    </p:extLst>
  </p:cmAuthor>
  <p:cmAuthor id="2" name="Marisa Thierheimer" initials="MT" lastIdx="4" clrIdx="1">
    <p:extLst>
      <p:ext uri="{19B8F6BF-5375-455C-9EA6-DF929625EA0E}">
        <p15:presenceInfo xmlns:p15="http://schemas.microsoft.com/office/powerpoint/2012/main" userId="S::marisa.thierheimer@gilead.com::07952294-6d4f-4d2a-8b81-10a1d66b71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36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sa Thierheimer" userId="07952294-6d4f-4d2a-8b81-10a1d66b7196" providerId="ADAL" clId="{5CD2D37E-7EA0-44F2-A57C-508816533F90}"/>
    <pc:docChg chg="undo custSel modSld">
      <pc:chgData name="Marisa Thierheimer" userId="07952294-6d4f-4d2a-8b81-10a1d66b7196" providerId="ADAL" clId="{5CD2D37E-7EA0-44F2-A57C-508816533F90}" dt="2021-02-26T19:41:06.676" v="2621" actId="1035"/>
      <pc:docMkLst>
        <pc:docMk/>
      </pc:docMkLst>
      <pc:sldChg chg="modSp">
        <pc:chgData name="Marisa Thierheimer" userId="07952294-6d4f-4d2a-8b81-10a1d66b7196" providerId="ADAL" clId="{5CD2D37E-7EA0-44F2-A57C-508816533F90}" dt="2021-02-24T23:42:35.238" v="2441" actId="20577"/>
        <pc:sldMkLst>
          <pc:docMk/>
          <pc:sldMk cId="1292421978" sldId="261"/>
        </pc:sldMkLst>
        <pc:spChg chg="mod">
          <ac:chgData name="Marisa Thierheimer" userId="07952294-6d4f-4d2a-8b81-10a1d66b7196" providerId="ADAL" clId="{5CD2D37E-7EA0-44F2-A57C-508816533F90}" dt="2021-02-24T23:42:35.238" v="2441" actId="20577"/>
          <ac:spMkLst>
            <pc:docMk/>
            <pc:sldMk cId="1292421978" sldId="261"/>
            <ac:spMk id="3" creationId="{72AA5283-31C8-4C26-9023-0006875BACEF}"/>
          </ac:spMkLst>
        </pc:spChg>
      </pc:sldChg>
      <pc:sldChg chg="addSp delSp modSp">
        <pc:chgData name="Marisa Thierheimer" userId="07952294-6d4f-4d2a-8b81-10a1d66b7196" providerId="ADAL" clId="{5CD2D37E-7EA0-44F2-A57C-508816533F90}" dt="2021-02-24T01:02:44.253" v="2079" actId="1036"/>
        <pc:sldMkLst>
          <pc:docMk/>
          <pc:sldMk cId="1648286856" sldId="262"/>
        </pc:sldMkLst>
        <pc:spChg chg="mod">
          <ac:chgData name="Marisa Thierheimer" userId="07952294-6d4f-4d2a-8b81-10a1d66b7196" providerId="ADAL" clId="{5CD2D37E-7EA0-44F2-A57C-508816533F90}" dt="2021-02-23T05:14:46.283" v="559" actId="20577"/>
          <ac:spMkLst>
            <pc:docMk/>
            <pc:sldMk cId="1648286856" sldId="262"/>
            <ac:spMk id="2" creationId="{317DDD2E-6FAC-48C9-970E-1304741942E0}"/>
          </ac:spMkLst>
        </pc:spChg>
        <pc:spChg chg="mod">
          <ac:chgData name="Marisa Thierheimer" userId="07952294-6d4f-4d2a-8b81-10a1d66b7196" providerId="ADAL" clId="{5CD2D37E-7EA0-44F2-A57C-508816533F90}" dt="2021-02-24T01:02:44.253" v="2079" actId="1036"/>
          <ac:spMkLst>
            <pc:docMk/>
            <pc:sldMk cId="1648286856" sldId="262"/>
            <ac:spMk id="3" creationId="{4F16D2CF-1C27-45A8-B691-6F828CE70CFD}"/>
          </ac:spMkLst>
        </pc:spChg>
        <pc:spChg chg="add del">
          <ac:chgData name="Marisa Thierheimer" userId="07952294-6d4f-4d2a-8b81-10a1d66b7196" providerId="ADAL" clId="{5CD2D37E-7EA0-44F2-A57C-508816533F90}" dt="2021-02-24T00:59:33.418" v="2056" actId="478"/>
          <ac:spMkLst>
            <pc:docMk/>
            <pc:sldMk cId="1648286856" sldId="262"/>
            <ac:spMk id="5" creationId="{FAC4993F-ECDC-4147-B58A-FFDEBD93410F}"/>
          </ac:spMkLst>
        </pc:spChg>
        <pc:spChg chg="add del">
          <ac:chgData name="Marisa Thierheimer" userId="07952294-6d4f-4d2a-8b81-10a1d66b7196" providerId="ADAL" clId="{5CD2D37E-7EA0-44F2-A57C-508816533F90}" dt="2021-02-24T00:59:39.093" v="2058" actId="478"/>
          <ac:spMkLst>
            <pc:docMk/>
            <pc:sldMk cId="1648286856" sldId="262"/>
            <ac:spMk id="6" creationId="{3A777912-8194-4CAC-A6B9-6C588EC68973}"/>
          </ac:spMkLst>
        </pc:spChg>
        <pc:picChg chg="add del">
          <ac:chgData name="Marisa Thierheimer" userId="07952294-6d4f-4d2a-8b81-10a1d66b7196" providerId="ADAL" clId="{5CD2D37E-7EA0-44F2-A57C-508816533F90}" dt="2021-02-24T00:59:21.159" v="2054" actId="478"/>
          <ac:picMkLst>
            <pc:docMk/>
            <pc:sldMk cId="1648286856" sldId="262"/>
            <ac:picMk id="4" creationId="{E3CDCDA3-F432-442A-9561-3188C81BE918}"/>
          </ac:picMkLst>
        </pc:picChg>
        <pc:picChg chg="add mod">
          <ac:chgData name="Marisa Thierheimer" userId="07952294-6d4f-4d2a-8b81-10a1d66b7196" providerId="ADAL" clId="{5CD2D37E-7EA0-44F2-A57C-508816533F90}" dt="2021-02-24T01:02:31.516" v="2065" actId="14100"/>
          <ac:picMkLst>
            <pc:docMk/>
            <pc:sldMk cId="1648286856" sldId="262"/>
            <ac:picMk id="2054" creationId="{1D437E97-603F-4221-8F4F-E8783DD96265}"/>
          </ac:picMkLst>
        </pc:picChg>
      </pc:sldChg>
      <pc:sldChg chg="addSp delSp modSp">
        <pc:chgData name="Marisa Thierheimer" userId="07952294-6d4f-4d2a-8b81-10a1d66b7196" providerId="ADAL" clId="{5CD2D37E-7EA0-44F2-A57C-508816533F90}" dt="2021-02-24T05:18:52.192" v="2426" actId="1076"/>
        <pc:sldMkLst>
          <pc:docMk/>
          <pc:sldMk cId="1919006483" sldId="318"/>
        </pc:sldMkLst>
        <pc:spChg chg="mod">
          <ac:chgData name="Marisa Thierheimer" userId="07952294-6d4f-4d2a-8b81-10a1d66b7196" providerId="ADAL" clId="{5CD2D37E-7EA0-44F2-A57C-508816533F90}" dt="2021-02-24T00:56:49.976" v="1908" actId="20577"/>
          <ac:spMkLst>
            <pc:docMk/>
            <pc:sldMk cId="1919006483" sldId="318"/>
            <ac:spMk id="3" creationId="{37A33F3E-BD19-4A29-8A37-698D58A181A3}"/>
          </ac:spMkLst>
        </pc:spChg>
        <pc:spChg chg="add del">
          <ac:chgData name="Marisa Thierheimer" userId="07952294-6d4f-4d2a-8b81-10a1d66b7196" providerId="ADAL" clId="{5CD2D37E-7EA0-44F2-A57C-508816533F90}" dt="2021-02-24T05:18:04.241" v="2415" actId="478"/>
          <ac:spMkLst>
            <pc:docMk/>
            <pc:sldMk cId="1919006483" sldId="318"/>
            <ac:spMk id="4" creationId="{CE9E91DB-8ADC-4EF6-B44E-81562DF34E75}"/>
          </ac:spMkLst>
        </pc:spChg>
        <pc:spChg chg="add del">
          <ac:chgData name="Marisa Thierheimer" userId="07952294-6d4f-4d2a-8b81-10a1d66b7196" providerId="ADAL" clId="{5CD2D37E-7EA0-44F2-A57C-508816533F90}" dt="2021-02-24T05:18:24.433" v="2419" actId="478"/>
          <ac:spMkLst>
            <pc:docMk/>
            <pc:sldMk cId="1919006483" sldId="318"/>
            <ac:spMk id="6" creationId="{11A3957E-B64C-4E9E-92B9-0DC11D90D77C}"/>
          </ac:spMkLst>
        </pc:spChg>
        <pc:picChg chg="add del">
          <ac:chgData name="Marisa Thierheimer" userId="07952294-6d4f-4d2a-8b81-10a1d66b7196" providerId="ADAL" clId="{5CD2D37E-7EA0-44F2-A57C-508816533F90}" dt="2021-02-24T05:18:15.979" v="2417"/>
          <ac:picMkLst>
            <pc:docMk/>
            <pc:sldMk cId="1919006483" sldId="318"/>
            <ac:picMk id="5" creationId="{1D860421-F857-489A-85A9-1177B8980B5C}"/>
          </ac:picMkLst>
        </pc:picChg>
        <pc:picChg chg="add mod">
          <ac:chgData name="Marisa Thierheimer" userId="07952294-6d4f-4d2a-8b81-10a1d66b7196" providerId="ADAL" clId="{5CD2D37E-7EA0-44F2-A57C-508816533F90}" dt="2021-02-24T05:18:52.192" v="2426" actId="1076"/>
          <ac:picMkLst>
            <pc:docMk/>
            <pc:sldMk cId="1919006483" sldId="318"/>
            <ac:picMk id="66566" creationId="{72E285C4-CE0E-4938-BA71-0E489E75B635}"/>
          </ac:picMkLst>
        </pc:picChg>
      </pc:sldChg>
      <pc:sldChg chg="modSp">
        <pc:chgData name="Marisa Thierheimer" userId="07952294-6d4f-4d2a-8b81-10a1d66b7196" providerId="ADAL" clId="{5CD2D37E-7EA0-44F2-A57C-508816533F90}" dt="2021-02-24T23:38:59.001" v="2436" actId="20577"/>
        <pc:sldMkLst>
          <pc:docMk/>
          <pc:sldMk cId="1359896064" sldId="8323"/>
        </pc:sldMkLst>
        <pc:spChg chg="mod">
          <ac:chgData name="Marisa Thierheimer" userId="07952294-6d4f-4d2a-8b81-10a1d66b7196" providerId="ADAL" clId="{5CD2D37E-7EA0-44F2-A57C-508816533F90}" dt="2021-02-24T23:38:59.001" v="2436" actId="20577"/>
          <ac:spMkLst>
            <pc:docMk/>
            <pc:sldMk cId="1359896064" sldId="8323"/>
            <ac:spMk id="31" creationId="{8284932E-FEE2-AD48-9AE9-C39F6972B2C0}"/>
          </ac:spMkLst>
        </pc:spChg>
      </pc:sldChg>
      <pc:sldChg chg="addSp modSp">
        <pc:chgData name="Marisa Thierheimer" userId="07952294-6d4f-4d2a-8b81-10a1d66b7196" providerId="ADAL" clId="{5CD2D37E-7EA0-44F2-A57C-508816533F90}" dt="2021-02-24T05:11:01.626" v="2388" actId="1036"/>
        <pc:sldMkLst>
          <pc:docMk/>
          <pc:sldMk cId="1555627760" sldId="8325"/>
        </pc:sldMkLst>
        <pc:spChg chg="mod">
          <ac:chgData name="Marisa Thierheimer" userId="07952294-6d4f-4d2a-8b81-10a1d66b7196" providerId="ADAL" clId="{5CD2D37E-7EA0-44F2-A57C-508816533F90}" dt="2021-02-24T05:11:01.626" v="2388" actId="1036"/>
          <ac:spMkLst>
            <pc:docMk/>
            <pc:sldMk cId="1555627760" sldId="8325"/>
            <ac:spMk id="31" creationId="{8284932E-FEE2-AD48-9AE9-C39F6972B2C0}"/>
          </ac:spMkLst>
        </pc:spChg>
        <pc:picChg chg="add mod">
          <ac:chgData name="Marisa Thierheimer" userId="07952294-6d4f-4d2a-8b81-10a1d66b7196" providerId="ADAL" clId="{5CD2D37E-7EA0-44F2-A57C-508816533F90}" dt="2021-02-24T05:06:34.904" v="2283" actId="14100"/>
          <ac:picMkLst>
            <pc:docMk/>
            <pc:sldMk cId="1555627760" sldId="8325"/>
            <ac:picMk id="64514" creationId="{8D08F62A-E13C-4B6F-A096-42DEFACE905B}"/>
          </ac:picMkLst>
        </pc:picChg>
      </pc:sldChg>
      <pc:sldChg chg="addSp delSp modSp">
        <pc:chgData name="Marisa Thierheimer" userId="07952294-6d4f-4d2a-8b81-10a1d66b7196" providerId="ADAL" clId="{5CD2D37E-7EA0-44F2-A57C-508816533F90}" dt="2021-02-23T04:54:51.883" v="84" actId="1035"/>
        <pc:sldMkLst>
          <pc:docMk/>
          <pc:sldMk cId="1379823294" sldId="8328"/>
        </pc:sldMkLst>
        <pc:spChg chg="del">
          <ac:chgData name="Marisa Thierheimer" userId="07952294-6d4f-4d2a-8b81-10a1d66b7196" providerId="ADAL" clId="{5CD2D37E-7EA0-44F2-A57C-508816533F90}" dt="2021-02-23T04:43:53.153" v="6" actId="478"/>
          <ac:spMkLst>
            <pc:docMk/>
            <pc:sldMk cId="1379823294" sldId="8328"/>
            <ac:spMk id="3" creationId="{384B2963-D4DA-4E80-9542-8ABE20DC8936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" creationId="{DCC1F79E-FA33-4EAD-9548-814E64942097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" creationId="{4EEEAE0B-C13C-4069-A26B-7DA9877EEAAB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5" creationId="{FE29DA5F-C2BB-4E45-82A6-75CBF7CEAB20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23" creationId="{6DE92F1B-6317-4171-B5A8-0FE871B4F143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83" creationId="{AF70F985-7565-4DBC-8F83-BA1BEDCFC96D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97" creationId="{EF98FCB6-86D1-42AB-8547-BAFFFA0857B7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98" creationId="{4384A6F0-B363-428B-9FB3-F1EED034487D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99" creationId="{67700D42-7049-44D3-A0A9-9413F4DE548E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0" creationId="{5F1273C2-AD6A-476B-B7BB-D5ACF0DCF997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1" creationId="{36D28D01-175A-433E-A235-1CA3A6109521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2" creationId="{670851B6-42A1-4ECD-AC71-ACB8D530AD4F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3" creationId="{2FA2D39D-EBDF-4E76-9D59-FAABA4EC449F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4" creationId="{00569D4A-5E82-4AE1-A1FA-631D69C1290C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5" creationId="{8CC2A976-8CD0-48B9-9101-C2A251593956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6" creationId="{92E9A66D-47C1-4FE7-B707-87578020D308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7" creationId="{6C60729F-807A-47FC-A826-C386A79E2823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8" creationId="{135FEDA6-9742-4C71-87A2-1E2E37AAF6B8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09" creationId="{599951E3-31D3-4D4E-A10C-21E243C0F892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0" creationId="{75B5B5CC-7592-4709-8DA3-5CBCE33E6D1D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1" creationId="{1AF5C3C3-6281-4316-BEBA-EC9B8C665EEA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2" creationId="{CD0659DC-EACC-4787-A596-DCFFECF946A7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3" creationId="{4CC2E344-5222-4F1A-8809-A42B453056D5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8" creationId="{7A40E670-E9BF-4F5D-8CCC-79815C9E8FCF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19" creationId="{B7BF7791-B94A-471E-9B9A-4CBF223B2E75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1" creationId="{3E684EEF-F790-4F98-8EF6-B1D43BC53889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4" creationId="{697DD5EB-67CB-49B7-8151-DE82F915A0D8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5" creationId="{8CA8A797-8AF3-4218-929A-0B35B472A12E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6" creationId="{8BDC38B4-240C-4448-B4B5-55A38425918D}"/>
          </ac:spMkLst>
        </pc:spChg>
        <pc:spChg chg="add mod">
          <ac:chgData name="Marisa Thierheimer" userId="07952294-6d4f-4d2a-8b81-10a1d66b7196" providerId="ADAL" clId="{5CD2D37E-7EA0-44F2-A57C-508816533F90}" dt="2021-02-23T04:43:30.468" v="2" actId="164"/>
          <ac:spMkLst>
            <pc:docMk/>
            <pc:sldMk cId="1379823294" sldId="8328"/>
            <ac:spMk id="128" creationId="{A981A8E9-5C57-4AC8-9BCA-C4348B7A78C5}"/>
          </ac:spMkLst>
        </pc:spChg>
        <pc:spChg chg="add mod">
          <ac:chgData name="Marisa Thierheimer" userId="07952294-6d4f-4d2a-8b81-10a1d66b7196" providerId="ADAL" clId="{5CD2D37E-7EA0-44F2-A57C-508816533F90}" dt="2021-02-23T04:44:00.917" v="8" actId="14100"/>
          <ac:spMkLst>
            <pc:docMk/>
            <pc:sldMk cId="1379823294" sldId="8328"/>
            <ac:spMk id="130" creationId="{FACE6095-8A6A-4F95-AAFF-B7EA3E21C081}"/>
          </ac:spMkLst>
        </pc:spChg>
        <pc:spChg chg="add del mod">
          <ac:chgData name="Marisa Thierheimer" userId="07952294-6d4f-4d2a-8b81-10a1d66b7196" providerId="ADAL" clId="{5CD2D37E-7EA0-44F2-A57C-508816533F90}" dt="2021-02-23T04:54:01.404" v="65" actId="478"/>
          <ac:spMkLst>
            <pc:docMk/>
            <pc:sldMk cId="1379823294" sldId="8328"/>
            <ac:spMk id="131" creationId="{DBA50CC5-F361-48AC-9231-6C1CF1A90BF9}"/>
          </ac:spMkLst>
        </pc:spChg>
        <pc:spChg chg="add mod">
          <ac:chgData name="Marisa Thierheimer" userId="07952294-6d4f-4d2a-8b81-10a1d66b7196" providerId="ADAL" clId="{5CD2D37E-7EA0-44F2-A57C-508816533F90}" dt="2021-02-23T04:54:51.883" v="84" actId="1035"/>
          <ac:spMkLst>
            <pc:docMk/>
            <pc:sldMk cId="1379823294" sldId="8328"/>
            <ac:spMk id="133" creationId="{17F09380-C562-4F92-985A-CFC0691574F4}"/>
          </ac:spMkLst>
        </pc:spChg>
        <pc:spChg chg="add mod">
          <ac:chgData name="Marisa Thierheimer" userId="07952294-6d4f-4d2a-8b81-10a1d66b7196" providerId="ADAL" clId="{5CD2D37E-7EA0-44F2-A57C-508816533F90}" dt="2021-02-23T04:54:17.102" v="71" actId="20577"/>
          <ac:spMkLst>
            <pc:docMk/>
            <pc:sldMk cId="1379823294" sldId="8328"/>
            <ac:spMk id="134" creationId="{29C6BC19-CECE-4F54-9C17-CEC1A899E37F}"/>
          </ac:spMkLst>
        </pc:s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5" creationId="{A60DE640-A6D1-4877-A105-C9DBBD081A2C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7" creationId="{E29F9C9A-1B00-4D4C-B67A-6D4E00431A89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18" creationId="{57A42484-CF25-432A-8935-EDF3133EDE1C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25" creationId="{19538094-67CD-4CF6-94BF-E6C8FF014F6F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29" creationId="{8EF2D305-644B-4768-A971-8F01306A276F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34" creationId="{FB009B82-FF8D-407A-BF8C-860C173F552B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37" creationId="{4993307A-9ACA-4ACD-A4E3-C0C09DBB4F0F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41" creationId="{1D9FCA45-6BFE-4428-A4D5-346F7F7EA566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44" creationId="{6E30CF75-91FE-4763-8406-0F2EF2B1B7D0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48" creationId="{DDF2BC8D-853B-4B8B-B15D-41C8CF890BF2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52" creationId="{B189459C-A191-42CC-A125-1F931DC2CC23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56" creationId="{35F54DD3-4DBB-4C2B-9670-6674039686B2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60" creationId="{92BCCF7F-485F-4695-A221-0725F68F41D8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64" creationId="{8E2C2E2F-1C3A-4ABB-BF66-BD037559F897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68" creationId="{B6414DFD-6DE3-4204-947D-5EA0DF979178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72" creationId="{A78405FC-D76C-4AB7-AC47-EFF50CC008F7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75" creationId="{A4444C0A-E645-4980-8470-1DCEFE367D3E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78" creationId="{33EE9074-B9D3-4D2C-BDAF-CCF216509184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85" creationId="{259957B8-9117-4FF4-9EE4-E4F682988232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88" creationId="{DD03CE3E-4920-4601-B463-2287C2444C12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91" creationId="{72577182-2CF0-4188-A61D-DECBFE568B03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94" creationId="{5C521861-FC6B-43E4-A663-EAF2BF611C4F}"/>
          </ac:grpSpMkLst>
        </pc:grpChg>
        <pc:grpChg chg="add mod">
          <ac:chgData name="Marisa Thierheimer" userId="07952294-6d4f-4d2a-8b81-10a1d66b7196" providerId="ADAL" clId="{5CD2D37E-7EA0-44F2-A57C-508816533F90}" dt="2021-02-23T04:49:10.304" v="16" actId="1076"/>
          <ac:grpSpMkLst>
            <pc:docMk/>
            <pc:sldMk cId="1379823294" sldId="8328"/>
            <ac:grpSpMk id="114" creationId="{AAC43B18-B318-4A77-B5B6-B5852D97C245}"/>
          </ac:grpSpMkLst>
        </pc:grpChg>
        <pc:picChg chg="del">
          <ac:chgData name="Marisa Thierheimer" userId="07952294-6d4f-4d2a-8b81-10a1d66b7196" providerId="ADAL" clId="{5CD2D37E-7EA0-44F2-A57C-508816533F90}" dt="2021-02-23T04:43:21.111" v="0" actId="478"/>
          <ac:picMkLst>
            <pc:docMk/>
            <pc:sldMk cId="1379823294" sldId="8328"/>
            <ac:picMk id="6" creationId="{911D75B7-B88E-4AA1-9063-4C05472ED787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13" creationId="{C2F59508-4AF3-40A5-B8DA-53DEFC20738C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16" creationId="{B79D8ED5-1411-44A0-9B59-708BE0F05EB7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24" creationId="{DD6CA740-BDEB-42CA-AEE5-9AA963E875C9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82" creationId="{F775226A-BA46-4843-9D4A-726461282724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120" creationId="{72C971BB-0B09-4F2C-8C80-0CD30AC2A0AE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123" creationId="{4FFC7978-9278-4BE7-B5FB-C1BF728D90C3}"/>
          </ac:picMkLst>
        </pc:picChg>
        <pc:picChg chg="add mod">
          <ac:chgData name="Marisa Thierheimer" userId="07952294-6d4f-4d2a-8b81-10a1d66b7196" providerId="ADAL" clId="{5CD2D37E-7EA0-44F2-A57C-508816533F90}" dt="2021-02-23T04:43:30.468" v="2" actId="164"/>
          <ac:picMkLst>
            <pc:docMk/>
            <pc:sldMk cId="1379823294" sldId="8328"/>
            <ac:picMk id="127" creationId="{CCDF0BBC-DE5A-4B71-8E92-28FF43036287}"/>
          </ac:picMkLst>
        </pc:picChg>
        <pc:picChg chg="add mod">
          <ac:chgData name="Marisa Thierheimer" userId="07952294-6d4f-4d2a-8b81-10a1d66b7196" providerId="ADAL" clId="{5CD2D37E-7EA0-44F2-A57C-508816533F90}" dt="2021-02-23T04:54:47.457" v="75" actId="1076"/>
          <ac:picMkLst>
            <pc:docMk/>
            <pc:sldMk cId="1379823294" sldId="8328"/>
            <ac:picMk id="61442" creationId="{EA2AE276-C4B4-4417-8F70-3A8FD1D9281B}"/>
          </ac:picMkLst>
        </pc:picChg>
        <pc:cxnChg chg="add mod">
          <ac:chgData name="Marisa Thierheimer" userId="07952294-6d4f-4d2a-8b81-10a1d66b7196" providerId="ADAL" clId="{5CD2D37E-7EA0-44F2-A57C-508816533F90}" dt="2021-02-23T04:54:26.425" v="72" actId="14100"/>
          <ac:cxnSpMkLst>
            <pc:docMk/>
            <pc:sldMk cId="1379823294" sldId="8328"/>
            <ac:cxnSpMk id="11" creationId="{1B270B89-6013-4502-8EA4-9D4ACEA2C7FC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14" creationId="{7B472BC4-577D-439C-AD89-A332AD499254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17" creationId="{02FE2EB0-EDD7-483E-B983-27443142D095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21" creationId="{1F0D6523-F8E6-491B-9B1E-D5D8C0CCA6F5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22" creationId="{E85B6442-A475-4389-997E-A8AF96B0B930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28" creationId="{A5C3A3E6-98CC-445B-8C85-4AD64E5CCD7F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32" creationId="{A3F9093A-2A56-4604-896B-3ECF7914795B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33" creationId="{DB2FE837-CBF2-4F63-98CB-2743570B2515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40" creationId="{8D1A1649-7F8A-4EBC-A96C-12A4DAB5C3A0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47" creationId="{AD9414FC-C117-4C6C-971E-11282A607C90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51" creationId="{06DB2546-0175-4CC8-ABE3-41E38FD9EBA1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55" creationId="{6ED2CFC3-65D0-4C74-B189-D32ED83572BD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59" creationId="{D1ED6778-6D28-40E3-8B9D-22CAC6BD10BB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63" creationId="{21B91592-0118-497C-A9E5-BE75D16E349D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67" creationId="{386297D0-3239-4EDE-A29A-E429C110BF08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71" creationId="{3297F13E-5F7F-4FAF-9155-481A3C31EEAD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81" creationId="{DC18BA22-C543-4011-8F54-925A091637B5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84" creationId="{AD182375-B446-4011-B238-08ECAC7F13F7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117" creationId="{DDA26EEF-AEB9-4B6D-85FF-49A392693648}"/>
          </ac:cxnSpMkLst>
        </pc:cxnChg>
        <pc:cxnChg chg="add mod">
          <ac:chgData name="Marisa Thierheimer" userId="07952294-6d4f-4d2a-8b81-10a1d66b7196" providerId="ADAL" clId="{5CD2D37E-7EA0-44F2-A57C-508816533F90}" dt="2021-02-23T04:43:30.468" v="2" actId="164"/>
          <ac:cxnSpMkLst>
            <pc:docMk/>
            <pc:sldMk cId="1379823294" sldId="8328"/>
            <ac:cxnSpMk id="122" creationId="{9D1A9523-8F20-4C63-A284-7EEC0C2C6F9A}"/>
          </ac:cxnSpMkLst>
        </pc:cxnChg>
        <pc:cxnChg chg="add mod">
          <ac:chgData name="Marisa Thierheimer" userId="07952294-6d4f-4d2a-8b81-10a1d66b7196" providerId="ADAL" clId="{5CD2D37E-7EA0-44F2-A57C-508816533F90}" dt="2021-02-23T04:54:38.098" v="74" actId="1076"/>
          <ac:cxnSpMkLst>
            <pc:docMk/>
            <pc:sldMk cId="1379823294" sldId="8328"/>
            <ac:cxnSpMk id="136" creationId="{0737BB2E-F3E0-4403-8053-BD983DA2D292}"/>
          </ac:cxnSpMkLst>
        </pc:cxnChg>
      </pc:sldChg>
      <pc:sldChg chg="modSp">
        <pc:chgData name="Marisa Thierheimer" userId="07952294-6d4f-4d2a-8b81-10a1d66b7196" providerId="ADAL" clId="{5CD2D37E-7EA0-44F2-A57C-508816533F90}" dt="2021-02-23T05:09:29.871" v="432" actId="20577"/>
        <pc:sldMkLst>
          <pc:docMk/>
          <pc:sldMk cId="3076141662" sldId="8329"/>
        </pc:sldMkLst>
        <pc:spChg chg="mod">
          <ac:chgData name="Marisa Thierheimer" userId="07952294-6d4f-4d2a-8b81-10a1d66b7196" providerId="ADAL" clId="{5CD2D37E-7EA0-44F2-A57C-508816533F90}" dt="2021-02-23T05:09:29.871" v="432" actId="20577"/>
          <ac:spMkLst>
            <pc:docMk/>
            <pc:sldMk cId="3076141662" sldId="8329"/>
            <ac:spMk id="3" creationId="{3146D136-069C-440B-8947-29FE96A69725}"/>
          </ac:spMkLst>
        </pc:spChg>
      </pc:sldChg>
      <pc:sldChg chg="addSp delSp modSp">
        <pc:chgData name="Marisa Thierheimer" userId="07952294-6d4f-4d2a-8b81-10a1d66b7196" providerId="ADAL" clId="{5CD2D37E-7EA0-44F2-A57C-508816533F90}" dt="2021-02-24T05:01:31.157" v="2255" actId="1076"/>
        <pc:sldMkLst>
          <pc:docMk/>
          <pc:sldMk cId="1280115441" sldId="8331"/>
        </pc:sldMkLst>
        <pc:spChg chg="add del">
          <ac:chgData name="Marisa Thierheimer" userId="07952294-6d4f-4d2a-8b81-10a1d66b7196" providerId="ADAL" clId="{5CD2D37E-7EA0-44F2-A57C-508816533F90}" dt="2021-02-23T05:11:23.925" v="434" actId="478"/>
          <ac:spMkLst>
            <pc:docMk/>
            <pc:sldMk cId="1280115441" sldId="8331"/>
            <ac:spMk id="3" creationId="{FB2ACD7B-E29B-4A58-B262-24AEA9D635AD}"/>
          </ac:spMkLst>
        </pc:spChg>
        <pc:picChg chg="add mod">
          <ac:chgData name="Marisa Thierheimer" userId="07952294-6d4f-4d2a-8b81-10a1d66b7196" providerId="ADAL" clId="{5CD2D37E-7EA0-44F2-A57C-508816533F90}" dt="2021-02-24T04:58:00.692" v="2236" actId="1076"/>
          <ac:picMkLst>
            <pc:docMk/>
            <pc:sldMk cId="1280115441" sldId="8331"/>
            <ac:picMk id="5" creationId="{D3184401-BA19-4025-917B-C6C98A5F45D3}"/>
          </ac:picMkLst>
        </pc:picChg>
        <pc:picChg chg="mod">
          <ac:chgData name="Marisa Thierheimer" userId="07952294-6d4f-4d2a-8b81-10a1d66b7196" providerId="ADAL" clId="{5CD2D37E-7EA0-44F2-A57C-508816533F90}" dt="2021-02-23T05:11:48.457" v="437" actId="1076"/>
          <ac:picMkLst>
            <pc:docMk/>
            <pc:sldMk cId="1280115441" sldId="8331"/>
            <ac:picMk id="10" creationId="{E65570F3-59F6-40CC-BBD4-E1D2D3E56B4C}"/>
          </ac:picMkLst>
        </pc:picChg>
        <pc:picChg chg="add mod">
          <ac:chgData name="Marisa Thierheimer" userId="07952294-6d4f-4d2a-8b81-10a1d66b7196" providerId="ADAL" clId="{5CD2D37E-7EA0-44F2-A57C-508816533F90}" dt="2021-02-24T04:58:28.804" v="2244" actId="1076"/>
          <ac:picMkLst>
            <pc:docMk/>
            <pc:sldMk cId="1280115441" sldId="8331"/>
            <ac:picMk id="63490" creationId="{4F759D5B-5D49-4B33-A0B8-9127FA703A6B}"/>
          </ac:picMkLst>
        </pc:picChg>
        <pc:picChg chg="add mod">
          <ac:chgData name="Marisa Thierheimer" userId="07952294-6d4f-4d2a-8b81-10a1d66b7196" providerId="ADAL" clId="{5CD2D37E-7EA0-44F2-A57C-508816533F90}" dt="2021-02-24T05:01:31.157" v="2255" actId="1076"/>
          <ac:picMkLst>
            <pc:docMk/>
            <pc:sldMk cId="1280115441" sldId="8331"/>
            <ac:picMk id="63492" creationId="{55A44704-88B0-4CDF-92B0-39A9C67D5609}"/>
          </ac:picMkLst>
        </pc:picChg>
      </pc:sldChg>
      <pc:sldChg chg="modSp delCm">
        <pc:chgData name="Marisa Thierheimer" userId="07952294-6d4f-4d2a-8b81-10a1d66b7196" providerId="ADAL" clId="{5CD2D37E-7EA0-44F2-A57C-508816533F90}" dt="2021-02-24T23:41:46.603" v="2437" actId="313"/>
        <pc:sldMkLst>
          <pc:docMk/>
          <pc:sldMk cId="308053170" sldId="8332"/>
        </pc:sldMkLst>
        <pc:spChg chg="mod">
          <ac:chgData name="Marisa Thierheimer" userId="07952294-6d4f-4d2a-8b81-10a1d66b7196" providerId="ADAL" clId="{5CD2D37E-7EA0-44F2-A57C-508816533F90}" dt="2021-02-24T23:41:46.603" v="2437" actId="313"/>
          <ac:spMkLst>
            <pc:docMk/>
            <pc:sldMk cId="308053170" sldId="8332"/>
            <ac:spMk id="13" creationId="{A3E50544-4E42-A74E-B8E1-C9AF9EC0F711}"/>
          </ac:spMkLst>
        </pc:spChg>
      </pc:sldChg>
      <pc:sldChg chg="addSp modSp">
        <pc:chgData name="Marisa Thierheimer" userId="07952294-6d4f-4d2a-8b81-10a1d66b7196" providerId="ADAL" clId="{5CD2D37E-7EA0-44F2-A57C-508816533F90}" dt="2021-02-24T05:15:02.322" v="2413" actId="1076"/>
        <pc:sldMkLst>
          <pc:docMk/>
          <pc:sldMk cId="3087477339" sldId="8333"/>
        </pc:sldMkLst>
        <pc:picChg chg="add mod">
          <ac:chgData name="Marisa Thierheimer" userId="07952294-6d4f-4d2a-8b81-10a1d66b7196" providerId="ADAL" clId="{5CD2D37E-7EA0-44F2-A57C-508816533F90}" dt="2021-02-24T05:14:59.700" v="2412" actId="1076"/>
          <ac:picMkLst>
            <pc:docMk/>
            <pc:sldMk cId="3087477339" sldId="8333"/>
            <ac:picMk id="65538" creationId="{C0F38DEE-9674-4393-8A22-8985F525E7DC}"/>
          </ac:picMkLst>
        </pc:picChg>
        <pc:picChg chg="add mod">
          <ac:chgData name="Marisa Thierheimer" userId="07952294-6d4f-4d2a-8b81-10a1d66b7196" providerId="ADAL" clId="{5CD2D37E-7EA0-44F2-A57C-508816533F90}" dt="2021-02-24T05:15:02.322" v="2413" actId="1076"/>
          <ac:picMkLst>
            <pc:docMk/>
            <pc:sldMk cId="3087477339" sldId="8333"/>
            <ac:picMk id="65540" creationId="{D62B8E32-E049-4FEC-9DF2-8D6519461336}"/>
          </ac:picMkLst>
        </pc:picChg>
        <pc:picChg chg="add mod">
          <ac:chgData name="Marisa Thierheimer" userId="07952294-6d4f-4d2a-8b81-10a1d66b7196" providerId="ADAL" clId="{5CD2D37E-7EA0-44F2-A57C-508816533F90}" dt="2021-02-24T05:14:52.537" v="2411" actId="1076"/>
          <ac:picMkLst>
            <pc:docMk/>
            <pc:sldMk cId="3087477339" sldId="8333"/>
            <ac:picMk id="65542" creationId="{3E9F7396-7E79-4479-8814-4B343E2AFDF9}"/>
          </ac:picMkLst>
        </pc:picChg>
      </pc:sldChg>
      <pc:sldChg chg="addSp modSp">
        <pc:chgData name="Marisa Thierheimer" userId="07952294-6d4f-4d2a-8b81-10a1d66b7196" providerId="ADAL" clId="{5CD2D37E-7EA0-44F2-A57C-508816533F90}" dt="2021-02-24T04:48:42.082" v="2221" actId="1076"/>
        <pc:sldMkLst>
          <pc:docMk/>
          <pc:sldMk cId="359428545" sldId="8336"/>
        </pc:sldMkLst>
        <pc:spChg chg="mod">
          <ac:chgData name="Marisa Thierheimer" userId="07952294-6d4f-4d2a-8b81-10a1d66b7196" providerId="ADAL" clId="{5CD2D37E-7EA0-44F2-A57C-508816533F90}" dt="2021-02-24T04:47:14.677" v="2218" actId="20577"/>
          <ac:spMkLst>
            <pc:docMk/>
            <pc:sldMk cId="359428545" sldId="8336"/>
            <ac:spMk id="31" creationId="{8284932E-FEE2-AD48-9AE9-C39F6972B2C0}"/>
          </ac:spMkLst>
        </pc:spChg>
        <pc:spChg chg="mod">
          <ac:chgData name="Marisa Thierheimer" userId="07952294-6d4f-4d2a-8b81-10a1d66b7196" providerId="ADAL" clId="{5CD2D37E-7EA0-44F2-A57C-508816533F90}" dt="2021-02-24T04:46:04.259" v="2190" actId="20577"/>
          <ac:spMkLst>
            <pc:docMk/>
            <pc:sldMk cId="359428545" sldId="8336"/>
            <ac:spMk id="40" creationId="{8A64CF47-DCFD-5E4F-9419-0C92810259DF}"/>
          </ac:spMkLst>
        </pc:spChg>
        <pc:picChg chg="add mod">
          <ac:chgData name="Marisa Thierheimer" userId="07952294-6d4f-4d2a-8b81-10a1d66b7196" providerId="ADAL" clId="{5CD2D37E-7EA0-44F2-A57C-508816533F90}" dt="2021-02-24T04:48:42.082" v="2221" actId="1076"/>
          <ac:picMkLst>
            <pc:docMk/>
            <pc:sldMk cId="359428545" sldId="8336"/>
            <ac:picMk id="61442" creationId="{54761B7F-C222-48F0-B295-FFFFF945943F}"/>
          </ac:picMkLst>
        </pc:picChg>
      </pc:sldChg>
      <pc:sldChg chg="addSp modSp">
        <pc:chgData name="Marisa Thierheimer" userId="07952294-6d4f-4d2a-8b81-10a1d66b7196" providerId="ADAL" clId="{5CD2D37E-7EA0-44F2-A57C-508816533F90}" dt="2021-02-24T23:42:21.608" v="2439" actId="20577"/>
        <pc:sldMkLst>
          <pc:docMk/>
          <pc:sldMk cId="2991100086" sldId="8337"/>
        </pc:sldMkLst>
        <pc:spChg chg="mod">
          <ac:chgData name="Marisa Thierheimer" userId="07952294-6d4f-4d2a-8b81-10a1d66b7196" providerId="ADAL" clId="{5CD2D37E-7EA0-44F2-A57C-508816533F90}" dt="2021-02-24T23:42:21.608" v="2439" actId="20577"/>
          <ac:spMkLst>
            <pc:docMk/>
            <pc:sldMk cId="2991100086" sldId="8337"/>
            <ac:spMk id="31" creationId="{8284932E-FEE2-AD48-9AE9-C39F6972B2C0}"/>
          </ac:spMkLst>
        </pc:spChg>
        <pc:picChg chg="add mod ord">
          <ac:chgData name="Marisa Thierheimer" userId="07952294-6d4f-4d2a-8b81-10a1d66b7196" providerId="ADAL" clId="{5CD2D37E-7EA0-44F2-A57C-508816533F90}" dt="2021-02-24T04:53:59.014" v="2232" actId="170"/>
          <ac:picMkLst>
            <pc:docMk/>
            <pc:sldMk cId="2991100086" sldId="8337"/>
            <ac:picMk id="2" creationId="{18A670A5-2683-44D1-B2C3-2743E73DC946}"/>
          </ac:picMkLst>
        </pc:picChg>
        <pc:picChg chg="add mod">
          <ac:chgData name="Marisa Thierheimer" userId="07952294-6d4f-4d2a-8b81-10a1d66b7196" providerId="ADAL" clId="{5CD2D37E-7EA0-44F2-A57C-508816533F90}" dt="2021-02-24T04:56:07.019" v="2233" actId="1076"/>
          <ac:picMkLst>
            <pc:docMk/>
            <pc:sldMk cId="2991100086" sldId="8337"/>
            <ac:picMk id="62466" creationId="{CFB729B3-F46A-4001-BB1C-3F61965F43F1}"/>
          </ac:picMkLst>
        </pc:picChg>
      </pc:sldChg>
      <pc:sldChg chg="addSp delSp modSp">
        <pc:chgData name="Marisa Thierheimer" userId="07952294-6d4f-4d2a-8b81-10a1d66b7196" providerId="ADAL" clId="{5CD2D37E-7EA0-44F2-A57C-508816533F90}" dt="2021-02-26T19:41:06.676" v="2621" actId="1035"/>
        <pc:sldMkLst>
          <pc:docMk/>
          <pc:sldMk cId="2537106749" sldId="8338"/>
        </pc:sldMkLst>
        <pc:spChg chg="mod">
          <ac:chgData name="Marisa Thierheimer" userId="07952294-6d4f-4d2a-8b81-10a1d66b7196" providerId="ADAL" clId="{5CD2D37E-7EA0-44F2-A57C-508816533F90}" dt="2021-02-24T23:50:49.728" v="2615" actId="20577"/>
          <ac:spMkLst>
            <pc:docMk/>
            <pc:sldMk cId="2537106749" sldId="8338"/>
            <ac:spMk id="3" creationId="{4F16D2CF-1C27-45A8-B691-6F828CE70CFD}"/>
          </ac:spMkLst>
        </pc:spChg>
        <pc:graphicFrameChg chg="add del modGraphic">
          <ac:chgData name="Marisa Thierheimer" userId="07952294-6d4f-4d2a-8b81-10a1d66b7196" providerId="ADAL" clId="{5CD2D37E-7EA0-44F2-A57C-508816533F90}" dt="2021-02-24T04:37:59.371" v="2082" actId="27309"/>
          <ac:graphicFrameMkLst>
            <pc:docMk/>
            <pc:sldMk cId="2537106749" sldId="8338"/>
            <ac:graphicFrameMk id="5" creationId="{1A3AE38D-9B7E-4A3C-8727-14A2F3D4DE22}"/>
          </ac:graphicFrameMkLst>
        </pc:graphicFrameChg>
        <pc:picChg chg="del">
          <ac:chgData name="Marisa Thierheimer" userId="07952294-6d4f-4d2a-8b81-10a1d66b7196" providerId="ADAL" clId="{5CD2D37E-7EA0-44F2-A57C-508816533F90}" dt="2021-02-24T05:19:54.703" v="2427" actId="478"/>
          <ac:picMkLst>
            <pc:docMk/>
            <pc:sldMk cId="2537106749" sldId="8338"/>
            <ac:picMk id="2054" creationId="{1D437E97-603F-4221-8F4F-E8783DD96265}"/>
          </ac:picMkLst>
        </pc:picChg>
        <pc:picChg chg="add mod">
          <ac:chgData name="Marisa Thierheimer" userId="07952294-6d4f-4d2a-8b81-10a1d66b7196" providerId="ADAL" clId="{5CD2D37E-7EA0-44F2-A57C-508816533F90}" dt="2021-02-26T19:41:06.676" v="2621" actId="1035"/>
          <ac:picMkLst>
            <pc:docMk/>
            <pc:sldMk cId="2537106749" sldId="8338"/>
            <ac:picMk id="67586" creationId="{46245415-5B1C-48E3-AD9E-E5EF8A09F8F4}"/>
          </ac:picMkLst>
        </pc:picChg>
      </pc:sldChg>
    </pc:docChg>
  </pc:docChgLst>
  <pc:docChgLst>
    <pc:chgData name="Casey Hurley" userId="3ac109bb-bf51-4c72-9de8-d893b15726ec" providerId="ADAL" clId="{F90F7CAF-EA7D-41FC-94A8-5ABD7C18920B}"/>
    <pc:docChg chg="delSld">
      <pc:chgData name="Casey Hurley" userId="3ac109bb-bf51-4c72-9de8-d893b15726ec" providerId="ADAL" clId="{F90F7CAF-EA7D-41FC-94A8-5ABD7C18920B}" dt="2021-04-28T16:01:46.162" v="0" actId="2696"/>
      <pc:docMkLst>
        <pc:docMk/>
      </pc:docMkLst>
      <pc:sldChg chg="del">
        <pc:chgData name="Casey Hurley" userId="3ac109bb-bf51-4c72-9de8-d893b15726ec" providerId="ADAL" clId="{F90F7CAF-EA7D-41FC-94A8-5ABD7C18920B}" dt="2021-04-28T16:01:46.162" v="0" actId="2696"/>
        <pc:sldMkLst>
          <pc:docMk/>
          <pc:sldMk cId="394069041" sldId="298"/>
        </pc:sldMkLst>
      </pc:sldChg>
    </pc:docChg>
  </pc:docChgLst>
  <pc:docChgLst>
    <pc:chgData clId="Web-{00000000-0000-0000-0000-000000000000}"/>
    <pc:docChg chg="modSld">
      <pc:chgData name="" userId="" providerId="" clId="Web-{00000000-0000-0000-0000-000000000000}" dt="2021-02-23T00:32:16.300" v="0" actId="20577"/>
      <pc:docMkLst>
        <pc:docMk/>
      </pc:docMkLst>
      <pc:sldChg chg="modSp">
        <pc:chgData name="" userId="" providerId="" clId="Web-{00000000-0000-0000-0000-000000000000}" dt="2021-02-23T00:32:16.300" v="0" actId="20577"/>
        <pc:sldMkLst>
          <pc:docMk/>
          <pc:sldMk cId="2722049542" sldId="297"/>
        </pc:sldMkLst>
        <pc:spChg chg="mod">
          <ac:chgData name="" userId="" providerId="" clId="Web-{00000000-0000-0000-0000-000000000000}" dt="2021-02-23T00:32:16.300" v="0" actId="20577"/>
          <ac:spMkLst>
            <pc:docMk/>
            <pc:sldMk cId="2722049542" sldId="297"/>
            <ac:spMk id="3" creationId="{7D0909D4-D760-4AA5-8FC4-EAE5BF1F094E}"/>
          </ac:spMkLst>
        </pc:spChg>
      </pc:sldChg>
    </pc:docChg>
  </pc:docChgLst>
  <pc:docChgLst>
    <pc:chgData name="Casey Hurley" userId="3ac109bb-bf51-4c72-9de8-d893b15726ec" providerId="ADAL" clId="{C52D6C7C-FA3C-4455-AF71-DECF5E40A744}"/>
    <pc:docChg chg="undo custSel addSld delSld modSld sldOrd">
      <pc:chgData name="Casey Hurley" userId="3ac109bb-bf51-4c72-9de8-d893b15726ec" providerId="ADAL" clId="{C52D6C7C-FA3C-4455-AF71-DECF5E40A744}" dt="2021-02-26T04:19:36.463" v="8131" actId="20577"/>
      <pc:docMkLst>
        <pc:docMk/>
      </pc:docMkLst>
      <pc:sldChg chg="del">
        <pc:chgData name="Casey Hurley" userId="3ac109bb-bf51-4c72-9de8-d893b15726ec" providerId="ADAL" clId="{C52D6C7C-FA3C-4455-AF71-DECF5E40A744}" dt="2021-02-22T22:26:35.360" v="16" actId="2696"/>
        <pc:sldMkLst>
          <pc:docMk/>
          <pc:sldMk cId="3382726832" sldId="256"/>
        </pc:sldMkLst>
      </pc:sldChg>
      <pc:sldChg chg="del">
        <pc:chgData name="Casey Hurley" userId="3ac109bb-bf51-4c72-9de8-d893b15726ec" providerId="ADAL" clId="{C52D6C7C-FA3C-4455-AF71-DECF5E40A744}" dt="2021-02-22T23:03:11.868" v="2581" actId="2696"/>
        <pc:sldMkLst>
          <pc:docMk/>
          <pc:sldMk cId="2701221660" sldId="257"/>
        </pc:sldMkLst>
      </pc:sldChg>
      <pc:sldChg chg="del">
        <pc:chgData name="Casey Hurley" userId="3ac109bb-bf51-4c72-9de8-d893b15726ec" providerId="ADAL" clId="{C52D6C7C-FA3C-4455-AF71-DECF5E40A744}" dt="2021-02-22T23:04:46.334" v="2602" actId="2696"/>
        <pc:sldMkLst>
          <pc:docMk/>
          <pc:sldMk cId="468651137" sldId="258"/>
        </pc:sldMkLst>
      </pc:sldChg>
      <pc:sldChg chg="del">
        <pc:chgData name="Casey Hurley" userId="3ac109bb-bf51-4c72-9de8-d893b15726ec" providerId="ADAL" clId="{C52D6C7C-FA3C-4455-AF71-DECF5E40A744}" dt="2021-02-22T23:06:24.933" v="2682" actId="2696"/>
        <pc:sldMkLst>
          <pc:docMk/>
          <pc:sldMk cId="805235385" sldId="260"/>
        </pc:sldMkLst>
      </pc:sldChg>
      <pc:sldChg chg="addSp delSp modSp modNotesTx">
        <pc:chgData name="Casey Hurley" userId="3ac109bb-bf51-4c72-9de8-d893b15726ec" providerId="ADAL" clId="{C52D6C7C-FA3C-4455-AF71-DECF5E40A744}" dt="2021-02-25T17:11:24.111" v="7972" actId="948"/>
        <pc:sldMkLst>
          <pc:docMk/>
          <pc:sldMk cId="1292421978" sldId="261"/>
        </pc:sldMkLst>
        <pc:spChg chg="mod">
          <ac:chgData name="Casey Hurley" userId="3ac109bb-bf51-4c72-9de8-d893b15726ec" providerId="ADAL" clId="{C52D6C7C-FA3C-4455-AF71-DECF5E40A744}" dt="2021-02-24T05:29:05.064" v="7274" actId="20577"/>
          <ac:spMkLst>
            <pc:docMk/>
            <pc:sldMk cId="1292421978" sldId="261"/>
            <ac:spMk id="2" creationId="{E3569F3A-AD57-4C73-B1E4-0F8173247F5D}"/>
          </ac:spMkLst>
        </pc:spChg>
        <pc:spChg chg="mod">
          <ac:chgData name="Casey Hurley" userId="3ac109bb-bf51-4c72-9de8-d893b15726ec" providerId="ADAL" clId="{C52D6C7C-FA3C-4455-AF71-DECF5E40A744}" dt="2021-02-25T17:11:24.111" v="7972" actId="948"/>
          <ac:spMkLst>
            <pc:docMk/>
            <pc:sldMk cId="1292421978" sldId="261"/>
            <ac:spMk id="3" creationId="{72AA5283-31C8-4C26-9023-0006875BACEF}"/>
          </ac:spMkLst>
        </pc:spChg>
        <pc:picChg chg="add del">
          <ac:chgData name="Casey Hurley" userId="3ac109bb-bf51-4c72-9de8-d893b15726ec" providerId="ADAL" clId="{C52D6C7C-FA3C-4455-AF71-DECF5E40A744}" dt="2021-02-25T16:42:24.100" v="7907" actId="478"/>
          <ac:picMkLst>
            <pc:docMk/>
            <pc:sldMk cId="1292421978" sldId="261"/>
            <ac:picMk id="4" creationId="{09F79208-A498-49E9-AB38-EB0C797E8C36}"/>
          </ac:picMkLst>
        </pc:picChg>
        <pc:picChg chg="add mod">
          <ac:chgData name="Casey Hurley" userId="3ac109bb-bf51-4c72-9de8-d893b15726ec" providerId="ADAL" clId="{C52D6C7C-FA3C-4455-AF71-DECF5E40A744}" dt="2021-02-25T16:42:41.507" v="7912" actId="1076"/>
          <ac:picMkLst>
            <pc:docMk/>
            <pc:sldMk cId="1292421978" sldId="261"/>
            <ac:picMk id="2050" creationId="{54AF140F-2FCD-4442-B729-D7845B120739}"/>
          </ac:picMkLst>
        </pc:picChg>
      </pc:sldChg>
      <pc:sldChg chg="modSp add del">
        <pc:chgData name="Casey Hurley" userId="3ac109bb-bf51-4c72-9de8-d893b15726ec" providerId="ADAL" clId="{C52D6C7C-FA3C-4455-AF71-DECF5E40A744}" dt="2021-02-24T04:31:26.239" v="4979" actId="2696"/>
        <pc:sldMkLst>
          <pc:docMk/>
          <pc:sldMk cId="1648286856" sldId="262"/>
        </pc:sldMkLst>
        <pc:spChg chg="mod">
          <ac:chgData name="Casey Hurley" userId="3ac109bb-bf51-4c72-9de8-d893b15726ec" providerId="ADAL" clId="{C52D6C7C-FA3C-4455-AF71-DECF5E40A744}" dt="2021-02-24T04:28:42.005" v="4953"/>
          <ac:spMkLst>
            <pc:docMk/>
            <pc:sldMk cId="1648286856" sldId="262"/>
            <ac:spMk id="2" creationId="{317DDD2E-6FAC-48C9-970E-1304741942E0}"/>
          </ac:spMkLst>
        </pc:spChg>
        <pc:spChg chg="mod">
          <ac:chgData name="Casey Hurley" userId="3ac109bb-bf51-4c72-9de8-d893b15726ec" providerId="ADAL" clId="{C52D6C7C-FA3C-4455-AF71-DECF5E40A744}" dt="2021-02-24T04:28:42.005" v="4953"/>
          <ac:spMkLst>
            <pc:docMk/>
            <pc:sldMk cId="1648286856" sldId="262"/>
            <ac:spMk id="3" creationId="{4F16D2CF-1C27-45A8-B691-6F828CE70CFD}"/>
          </ac:spMkLst>
        </pc:spChg>
      </pc:sldChg>
      <pc:sldChg chg="modSp add">
        <pc:chgData name="Casey Hurley" userId="3ac109bb-bf51-4c72-9de8-d893b15726ec" providerId="ADAL" clId="{C52D6C7C-FA3C-4455-AF71-DECF5E40A744}" dt="2021-02-22T22:34:20.130" v="297" actId="20577"/>
        <pc:sldMkLst>
          <pc:docMk/>
          <pc:sldMk cId="3895211462" sldId="293"/>
        </pc:sldMkLst>
        <pc:spChg chg="mod">
          <ac:chgData name="Casey Hurley" userId="3ac109bb-bf51-4c72-9de8-d893b15726ec" providerId="ADAL" clId="{C52D6C7C-FA3C-4455-AF71-DECF5E40A744}" dt="2021-02-22T22:34:20.130" v="297" actId="20577"/>
          <ac:spMkLst>
            <pc:docMk/>
            <pc:sldMk cId="3895211462" sldId="293"/>
            <ac:spMk id="5" creationId="{71852602-9FFF-4631-9D97-9A5A2208CF14}"/>
          </ac:spMkLst>
        </pc:spChg>
      </pc:sldChg>
      <pc:sldChg chg="modSp add del">
        <pc:chgData name="Casey Hurley" userId="3ac109bb-bf51-4c72-9de8-d893b15726ec" providerId="ADAL" clId="{C52D6C7C-FA3C-4455-AF71-DECF5E40A744}" dt="2021-02-22T22:26:40.318" v="18" actId="20577"/>
        <pc:sldMkLst>
          <pc:docMk/>
          <pc:sldMk cId="2722049542" sldId="297"/>
        </pc:sldMkLst>
        <pc:spChg chg="mod">
          <ac:chgData name="Casey Hurley" userId="3ac109bb-bf51-4c72-9de8-d893b15726ec" providerId="ADAL" clId="{C52D6C7C-FA3C-4455-AF71-DECF5E40A744}" dt="2021-02-22T22:26:40.318" v="18" actId="20577"/>
          <ac:spMkLst>
            <pc:docMk/>
            <pc:sldMk cId="2722049542" sldId="297"/>
            <ac:spMk id="3" creationId="{7D0909D4-D760-4AA5-8FC4-EAE5BF1F094E}"/>
          </ac:spMkLst>
        </pc:spChg>
      </pc:sldChg>
      <pc:sldChg chg="modSp add del setBg addCm delCm modCm">
        <pc:chgData name="Casey Hurley" userId="3ac109bb-bf51-4c72-9de8-d893b15726ec" providerId="ADAL" clId="{C52D6C7C-FA3C-4455-AF71-DECF5E40A744}" dt="2021-02-24T04:46:13.600" v="5085"/>
        <pc:sldMkLst>
          <pc:docMk/>
          <pc:sldMk cId="394069041" sldId="298"/>
        </pc:sldMkLst>
        <pc:spChg chg="mod">
          <ac:chgData name="Casey Hurley" userId="3ac109bb-bf51-4c72-9de8-d893b15726ec" providerId="ADAL" clId="{C52D6C7C-FA3C-4455-AF71-DECF5E40A744}" dt="2021-02-24T04:45:34.196" v="5082" actId="122"/>
          <ac:spMkLst>
            <pc:docMk/>
            <pc:sldMk cId="394069041" sldId="298"/>
            <ac:spMk id="3" creationId="{BF4C3B59-BF71-4100-91B9-63B1121D529A}"/>
          </ac:spMkLst>
        </pc:spChg>
        <pc:spChg chg="mod">
          <ac:chgData name="Casey Hurley" userId="3ac109bb-bf51-4c72-9de8-d893b15726ec" providerId="ADAL" clId="{C52D6C7C-FA3C-4455-AF71-DECF5E40A744}" dt="2021-02-22T22:36:06.190" v="361" actId="2710"/>
          <ac:spMkLst>
            <pc:docMk/>
            <pc:sldMk cId="394069041" sldId="298"/>
            <ac:spMk id="4" creationId="{8C0E961A-3917-4A3F-976C-EC5A9BFC325F}"/>
          </ac:spMkLst>
        </pc:spChg>
      </pc:sldChg>
      <pc:sldChg chg="addSp delSp modSp add del setBg delDesignElem">
        <pc:chgData name="Casey Hurley" userId="3ac109bb-bf51-4c72-9de8-d893b15726ec" providerId="ADAL" clId="{C52D6C7C-FA3C-4455-AF71-DECF5E40A744}" dt="2021-02-23T17:38:34.423" v="4204" actId="2696"/>
        <pc:sldMkLst>
          <pc:docMk/>
          <pc:sldMk cId="3719754743" sldId="299"/>
        </pc:sldMkLst>
        <pc:spChg chg="mod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5" creationId="{54A2D173-0338-46EB-99A6-054C30312359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14" creationId="{2AEBC8F2-97B1-41B4-93F1-2D289E197FBA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15" creationId="{827B839B-9ADE-406B-8590-F1CAEDED45A1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16" creationId="{472E3A19-F5D5-48FC-BB9C-48C2F68F598B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17" creationId="{CFE45BF0-46DB-408C-B5F7-7B11716805D4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18" creationId="{7A62E32F-BB65-43A8-8EB5-92346890E549}"/>
          </ac:spMkLst>
        </pc:spChg>
        <pc:spChg chg="add del">
          <ac:chgData name="Casey Hurley" userId="3ac109bb-bf51-4c72-9de8-d893b15726ec" providerId="ADAL" clId="{C52D6C7C-FA3C-4455-AF71-DECF5E40A744}" dt="2021-02-22T22:25:06.889" v="4"/>
          <ac:spMkLst>
            <pc:docMk/>
            <pc:sldMk cId="3719754743" sldId="299"/>
            <ac:spMk id="20" creationId="{14E91B64-9FCC-451E-AFB4-A827D6329367}"/>
          </ac:spMkLst>
        </pc:spChg>
      </pc:sldChg>
      <pc:sldChg chg="addSp delSp modSp add del setBg delDesignElem">
        <pc:chgData name="Casey Hurley" userId="3ac109bb-bf51-4c72-9de8-d893b15726ec" providerId="ADAL" clId="{C52D6C7C-FA3C-4455-AF71-DECF5E40A744}" dt="2021-02-22T22:46:31.937" v="921" actId="2696"/>
        <pc:sldMkLst>
          <pc:docMk/>
          <pc:sldMk cId="601598206" sldId="302"/>
        </pc:sldMkLst>
        <pc:spChg chg="mod">
          <ac:chgData name="Casey Hurley" userId="3ac109bb-bf51-4c72-9de8-d893b15726ec" providerId="ADAL" clId="{C52D6C7C-FA3C-4455-AF71-DECF5E40A744}" dt="2021-02-22T22:46:01.723" v="920" actId="20577"/>
          <ac:spMkLst>
            <pc:docMk/>
            <pc:sldMk cId="601598206" sldId="302"/>
            <ac:spMk id="5" creationId="{54A2D173-0338-46EB-99A6-054C30312359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10" creationId="{827B839B-9ADE-406B-8590-F1CAEDED45A1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12" creationId="{CFE45BF0-46DB-408C-B5F7-7B11716805D4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14" creationId="{2AEBC8F2-97B1-41B4-93F1-2D289E197FBA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20" creationId="{14E91B64-9FCC-451E-AFB4-A827D6329367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21" creationId="{472E3A19-F5D5-48FC-BB9C-48C2F68F598B}"/>
          </ac:spMkLst>
        </pc:spChg>
        <pc:spChg chg="add del">
          <ac:chgData name="Casey Hurley" userId="3ac109bb-bf51-4c72-9de8-d893b15726ec" providerId="ADAL" clId="{C52D6C7C-FA3C-4455-AF71-DECF5E40A744}" dt="2021-02-22T22:33:23.341" v="265"/>
          <ac:spMkLst>
            <pc:docMk/>
            <pc:sldMk cId="601598206" sldId="302"/>
            <ac:spMk id="22" creationId="{7A62E32F-BB65-43A8-8EB5-92346890E549}"/>
          </ac:spMkLst>
        </pc:spChg>
      </pc:sldChg>
      <pc:sldChg chg="addSp delSp add del setBg delDesignElem">
        <pc:chgData name="Casey Hurley" userId="3ac109bb-bf51-4c72-9de8-d893b15726ec" providerId="ADAL" clId="{C52D6C7C-FA3C-4455-AF71-DECF5E40A744}" dt="2021-02-22T23:11:28.616" v="2856" actId="2696"/>
        <pc:sldMkLst>
          <pc:docMk/>
          <pc:sldMk cId="1735850968" sldId="305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1735850968" sldId="305"/>
            <ac:spMk id="53" creationId="{4735DC46-5663-471D-AADB-81E00E65BCC6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1735850968" sldId="305"/>
            <ac:spMk id="55" creationId="{2CB6C291-6CAF-46DF-ACFF-AADF0FD03F58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1735850968" sldId="305"/>
            <ac:picMk id="56" creationId="{1EBADBCA-DA20-4279-93C6-011DEF18AA71}"/>
          </ac:picMkLst>
        </pc:picChg>
      </pc:sldChg>
      <pc:sldChg chg="addSp delSp modSp add del setBg delDesignElem">
        <pc:chgData name="Casey Hurley" userId="3ac109bb-bf51-4c72-9de8-d893b15726ec" providerId="ADAL" clId="{C52D6C7C-FA3C-4455-AF71-DECF5E40A744}" dt="2021-02-22T23:16:33.031" v="2903" actId="2696"/>
        <pc:sldMkLst>
          <pc:docMk/>
          <pc:sldMk cId="643488079" sldId="306"/>
        </pc:sldMkLst>
        <pc:spChg chg="mod">
          <ac:chgData name="Casey Hurley" userId="3ac109bb-bf51-4c72-9de8-d893b15726ec" providerId="ADAL" clId="{C52D6C7C-FA3C-4455-AF71-DECF5E40A744}" dt="2021-02-22T22:33:45.158" v="283"/>
          <ac:spMkLst>
            <pc:docMk/>
            <pc:sldMk cId="643488079" sldId="306"/>
            <ac:spMk id="2" creationId="{4023CBBB-FA43-4666-809D-843845F76B04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643488079" sldId="306"/>
            <ac:spMk id="18" creationId="{B164D969-46F1-44FC-B488-3FA68C67756D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643488079" sldId="306"/>
            <ac:spMk id="24" creationId="{9E0A01E6-95B9-424D-93AE-19F4928DFD40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643488079" sldId="306"/>
            <ac:picMk id="20" creationId="{F3003D4E-E9FF-4669-90E7-7CED081587F1}"/>
          </ac:picMkLst>
        </pc:pic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643488079" sldId="306"/>
            <ac:picMk id="22" creationId="{A7D98261-3895-4FB5-B9CE-26FAF635730F}"/>
          </ac:picMkLst>
        </pc:picChg>
      </pc:sldChg>
      <pc:sldChg chg="addSp delSp add del setBg delDesignElem">
        <pc:chgData name="Casey Hurley" userId="3ac109bb-bf51-4c72-9de8-d893b15726ec" providerId="ADAL" clId="{C52D6C7C-FA3C-4455-AF71-DECF5E40A744}" dt="2021-02-22T23:26:14.966" v="3647" actId="2696"/>
        <pc:sldMkLst>
          <pc:docMk/>
          <pc:sldMk cId="411463654" sldId="308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411463654" sldId="308"/>
            <ac:spMk id="82" creationId="{523E859E-BCBF-4E66-BDB2-B45C407894B7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411463654" sldId="308"/>
            <ac:spMk id="86" creationId="{B45D527E-542C-44E0-8FC2-F03B24CFA25E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411463654" sldId="308"/>
            <ac:picMk id="84" creationId="{3A9AEE7E-B925-446D-8A61-75BFE40B8B9E}"/>
          </ac:picMkLst>
        </pc:picChg>
      </pc:sldChg>
      <pc:sldChg chg="addSp delSp add del setBg delDesignElem">
        <pc:chgData name="Casey Hurley" userId="3ac109bb-bf51-4c72-9de8-d893b15726ec" providerId="ADAL" clId="{C52D6C7C-FA3C-4455-AF71-DECF5E40A744}" dt="2021-02-23T17:58:17.873" v="4558" actId="2696"/>
        <pc:sldMkLst>
          <pc:docMk/>
          <pc:sldMk cId="39296888" sldId="309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9296888" sldId="309"/>
            <ac:spMk id="15" creationId="{2CB6C291-6CAF-46DF-ACFF-AADF0FD03F58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9296888" sldId="309"/>
            <ac:spMk id="16" creationId="{4735DC46-5663-471D-AADB-81E00E65BCC6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39296888" sldId="309"/>
            <ac:picMk id="13" creationId="{595E59CC-7059-4455-9789-EDFBBE8F5A98}"/>
          </ac:picMkLst>
        </pc:picChg>
      </pc:sldChg>
      <pc:sldChg chg="addSp delSp modSp add del setBg delDesignElem">
        <pc:chgData name="Casey Hurley" userId="3ac109bb-bf51-4c72-9de8-d893b15726ec" providerId="ADAL" clId="{C52D6C7C-FA3C-4455-AF71-DECF5E40A744}" dt="2021-02-22T22:33:45.227" v="284"/>
        <pc:sldMkLst>
          <pc:docMk/>
          <pc:sldMk cId="1893823245" sldId="311"/>
        </pc:sldMkLst>
        <pc:spChg chg="mod">
          <ac:chgData name="Casey Hurley" userId="3ac109bb-bf51-4c72-9de8-d893b15726ec" providerId="ADAL" clId="{C52D6C7C-FA3C-4455-AF71-DECF5E40A744}" dt="2021-02-22T22:33:45.158" v="283"/>
          <ac:spMkLst>
            <pc:docMk/>
            <pc:sldMk cId="1893823245" sldId="311"/>
            <ac:spMk id="2" creationId="{4023CBBB-FA43-4666-809D-843845F76B04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1893823245" sldId="311"/>
            <ac:spMk id="9" creationId="{4351DFE5-F63D-4BE0-BDA9-E3EB88F01AA5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1893823245" sldId="311"/>
            <ac:picMk id="11" creationId="{3AA16612-ACD2-4A16-8F2B-4514FD6BF28F}"/>
          </ac:picMkLst>
        </pc:picChg>
      </pc:sldChg>
      <pc:sldChg chg="addSp delSp modSp add del setBg delDesignElem">
        <pc:chgData name="Casey Hurley" userId="3ac109bb-bf51-4c72-9de8-d893b15726ec" providerId="ADAL" clId="{C52D6C7C-FA3C-4455-AF71-DECF5E40A744}" dt="2021-02-22T22:33:45.227" v="284"/>
        <pc:sldMkLst>
          <pc:docMk/>
          <pc:sldMk cId="3055162126" sldId="312"/>
        </pc:sldMkLst>
        <pc:spChg chg="mod">
          <ac:chgData name="Casey Hurley" userId="3ac109bb-bf51-4c72-9de8-d893b15726ec" providerId="ADAL" clId="{C52D6C7C-FA3C-4455-AF71-DECF5E40A744}" dt="2021-02-22T22:33:45.158" v="283"/>
          <ac:spMkLst>
            <pc:docMk/>
            <pc:sldMk cId="3055162126" sldId="312"/>
            <ac:spMk id="2" creationId="{4023CBBB-FA43-4666-809D-843845F76B04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055162126" sldId="312"/>
            <ac:spMk id="9" creationId="{2CB6C291-6CAF-46DF-ACFF-AADF0FD03F58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3055162126" sldId="312"/>
            <ac:picMk id="11" creationId="{63C11A00-A2A3-417C-B33D-DC753ED7C3BB}"/>
          </ac:picMkLst>
        </pc:picChg>
      </pc:sldChg>
      <pc:sldChg chg="addSp delSp add del setBg delDesignElem">
        <pc:chgData name="Casey Hurley" userId="3ac109bb-bf51-4c72-9de8-d893b15726ec" providerId="ADAL" clId="{C52D6C7C-FA3C-4455-AF71-DECF5E40A744}" dt="2021-02-22T23:35:25.187" v="3731" actId="2696"/>
        <pc:sldMkLst>
          <pc:docMk/>
          <pc:sldMk cId="4269123645" sldId="314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4269123645" sldId="314"/>
            <ac:spMk id="73" creationId="{523E859E-BCBF-4E66-BDB2-B45C407894B7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4269123645" sldId="314"/>
            <ac:spMk id="77" creationId="{B45D527E-542C-44E0-8FC2-F03B24CFA25E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4269123645" sldId="314"/>
            <ac:picMk id="75" creationId="{3A9AEE7E-B925-446D-8A61-75BFE40B8B9E}"/>
          </ac:picMkLst>
        </pc:picChg>
      </pc:sldChg>
      <pc:sldChg chg="addSp delSp add del setBg delDesignElem">
        <pc:chgData name="Casey Hurley" userId="3ac109bb-bf51-4c72-9de8-d893b15726ec" providerId="ADAL" clId="{C52D6C7C-FA3C-4455-AF71-DECF5E40A744}" dt="2021-02-23T18:08:39.690" v="4690" actId="2696"/>
        <pc:sldMkLst>
          <pc:docMk/>
          <pc:sldMk cId="3198097523" sldId="315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30" creationId="{388A9C38-14A8-4992-8E6F-67C738D3D2C1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32" creationId="{122393B7-B935-4DF3-9C56-9E148AFD6FE9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34" creationId="{2E644E12-FB05-4890-8826-29D85B6E2146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36" creationId="{477BE416-94B7-45C4-ACCE-88963B7B3F72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38" creationId="{54C6052B-C89E-4FEE-82B5-40D4BEAFBD6E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40" creationId="{711A3872-B200-4022-8FCB-FF8B8E20979F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42" creationId="{D2DF9C19-7CDC-4EA5-A762-B4E455A32137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198097523" sldId="315"/>
            <ac:spMk id="44" creationId="{2CD22541-3D67-4352-93BD-47C0A8BA77F7}"/>
          </ac:spMkLst>
        </pc:spChg>
      </pc:sldChg>
      <pc:sldChg chg="addSp delSp modSp add del setBg delDesignElem">
        <pc:chgData name="Casey Hurley" userId="3ac109bb-bf51-4c72-9de8-d893b15726ec" providerId="ADAL" clId="{C52D6C7C-FA3C-4455-AF71-DECF5E40A744}" dt="2021-02-23T17:58:18.698" v="4559" actId="2696"/>
        <pc:sldMkLst>
          <pc:docMk/>
          <pc:sldMk cId="3072407340" sldId="316"/>
        </pc:sldMkLst>
        <pc:spChg chg="mod">
          <ac:chgData name="Casey Hurley" userId="3ac109bb-bf51-4c72-9de8-d893b15726ec" providerId="ADAL" clId="{C52D6C7C-FA3C-4455-AF71-DECF5E40A744}" dt="2021-02-22T22:33:45.158" v="283"/>
          <ac:spMkLst>
            <pc:docMk/>
            <pc:sldMk cId="3072407340" sldId="316"/>
            <ac:spMk id="2" creationId="{4023CBBB-FA43-4666-809D-843845F76B04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072407340" sldId="316"/>
            <ac:spMk id="15" creationId="{2CB6C291-6CAF-46DF-ACFF-AADF0FD03F58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3072407340" sldId="316"/>
            <ac:spMk id="16" creationId="{4735DC46-5663-471D-AADB-81E00E65BCC6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3072407340" sldId="316"/>
            <ac:picMk id="13" creationId="{595E59CC-7059-4455-9789-EDFBBE8F5A98}"/>
          </ac:picMkLst>
        </pc:picChg>
      </pc:sldChg>
      <pc:sldChg chg="addSp delSp add del setBg delDesignElem">
        <pc:chgData name="Casey Hurley" userId="3ac109bb-bf51-4c72-9de8-d893b15726ec" providerId="ADAL" clId="{C52D6C7C-FA3C-4455-AF71-DECF5E40A744}" dt="2021-02-22T23:27:03.004" v="3656" actId="2696"/>
        <pc:sldMkLst>
          <pc:docMk/>
          <pc:sldMk cId="2232115660" sldId="317"/>
        </pc:sldMkLst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2232115660" sldId="317"/>
            <ac:spMk id="82" creationId="{523E859E-BCBF-4E66-BDB2-B45C407894B7}"/>
          </ac:spMkLst>
        </pc:spChg>
        <pc:spChg chg="add del">
          <ac:chgData name="Casey Hurley" userId="3ac109bb-bf51-4c72-9de8-d893b15726ec" providerId="ADAL" clId="{C52D6C7C-FA3C-4455-AF71-DECF5E40A744}" dt="2021-02-22T22:33:45.158" v="283"/>
          <ac:spMkLst>
            <pc:docMk/>
            <pc:sldMk cId="2232115660" sldId="317"/>
            <ac:spMk id="86" creationId="{B45D527E-542C-44E0-8FC2-F03B24CFA25E}"/>
          </ac:spMkLst>
        </pc:spChg>
        <pc:picChg chg="add del">
          <ac:chgData name="Casey Hurley" userId="3ac109bb-bf51-4c72-9de8-d893b15726ec" providerId="ADAL" clId="{C52D6C7C-FA3C-4455-AF71-DECF5E40A744}" dt="2021-02-22T22:33:45.158" v="283"/>
          <ac:picMkLst>
            <pc:docMk/>
            <pc:sldMk cId="2232115660" sldId="317"/>
            <ac:picMk id="84" creationId="{3A9AEE7E-B925-446D-8A61-75BFE40B8B9E}"/>
          </ac:picMkLst>
        </pc:picChg>
      </pc:sldChg>
      <pc:sldChg chg="addSp delSp modSp add addCm delCm modCm">
        <pc:chgData name="Casey Hurley" userId="3ac109bb-bf51-4c72-9de8-d893b15726ec" providerId="ADAL" clId="{C52D6C7C-FA3C-4455-AF71-DECF5E40A744}" dt="2021-02-26T04:19:36.463" v="8131" actId="20577"/>
        <pc:sldMkLst>
          <pc:docMk/>
          <pc:sldMk cId="1919006483" sldId="318"/>
        </pc:sldMkLst>
        <pc:spChg chg="mod">
          <ac:chgData name="Casey Hurley" userId="3ac109bb-bf51-4c72-9de8-d893b15726ec" providerId="ADAL" clId="{C52D6C7C-FA3C-4455-AF71-DECF5E40A744}" dt="2021-02-24T04:44:06.599" v="5051" actId="2711"/>
          <ac:spMkLst>
            <pc:docMk/>
            <pc:sldMk cId="1919006483" sldId="318"/>
            <ac:spMk id="2" creationId="{547920F5-BBC1-4E27-9AF8-5FC67E69CB87}"/>
          </ac:spMkLst>
        </pc:spChg>
        <pc:spChg chg="mod">
          <ac:chgData name="Casey Hurley" userId="3ac109bb-bf51-4c72-9de8-d893b15726ec" providerId="ADAL" clId="{C52D6C7C-FA3C-4455-AF71-DECF5E40A744}" dt="2021-02-26T04:19:36.463" v="8131" actId="20577"/>
          <ac:spMkLst>
            <pc:docMk/>
            <pc:sldMk cId="1919006483" sldId="318"/>
            <ac:spMk id="3" creationId="{37A33F3E-BD19-4A29-8A37-698D58A181A3}"/>
          </ac:spMkLst>
        </pc:spChg>
        <pc:picChg chg="add del mod">
          <ac:chgData name="Casey Hurley" userId="3ac109bb-bf51-4c72-9de8-d893b15726ec" providerId="ADAL" clId="{C52D6C7C-FA3C-4455-AF71-DECF5E40A744}" dt="2021-02-26T04:19:23.436" v="8091" actId="478"/>
          <ac:picMkLst>
            <pc:docMk/>
            <pc:sldMk cId="1919006483" sldId="318"/>
            <ac:picMk id="1026" creationId="{158E27F0-D3D7-4B38-AF4D-AAE4A512872C}"/>
          </ac:picMkLst>
        </pc:picChg>
      </pc:sldChg>
      <pc:sldChg chg="modSp add del">
        <pc:chgData name="Casey Hurley" userId="3ac109bb-bf51-4c72-9de8-d893b15726ec" providerId="ADAL" clId="{C52D6C7C-FA3C-4455-AF71-DECF5E40A744}" dt="2021-02-22T23:05:07.197" v="2604" actId="2696"/>
        <pc:sldMkLst>
          <pc:docMk/>
          <pc:sldMk cId="3961198522" sldId="319"/>
        </pc:sldMkLst>
        <pc:spChg chg="mod">
          <ac:chgData name="Casey Hurley" userId="3ac109bb-bf51-4c72-9de8-d893b15726ec" providerId="ADAL" clId="{C52D6C7C-FA3C-4455-AF71-DECF5E40A744}" dt="2021-02-22T22:35:08.152" v="349" actId="20577"/>
          <ac:spMkLst>
            <pc:docMk/>
            <pc:sldMk cId="3961198522" sldId="319"/>
            <ac:spMk id="2" creationId="{4C6EEEF7-8D39-4487-97B8-73BC326CF777}"/>
          </ac:spMkLst>
        </pc:spChg>
      </pc:sldChg>
      <pc:sldChg chg="addSp delSp modSp add">
        <pc:chgData name="Casey Hurley" userId="3ac109bb-bf51-4c72-9de8-d893b15726ec" providerId="ADAL" clId="{C52D6C7C-FA3C-4455-AF71-DECF5E40A744}" dt="2021-02-24T04:39:53.135" v="5029" actId="207"/>
        <pc:sldMkLst>
          <pc:docMk/>
          <pc:sldMk cId="1439613122" sldId="8311"/>
        </pc:sldMkLst>
        <pc:spChg chg="add del mod">
          <ac:chgData name="Casey Hurley" userId="3ac109bb-bf51-4c72-9de8-d893b15726ec" providerId="ADAL" clId="{C52D6C7C-FA3C-4455-AF71-DECF5E40A744}" dt="2021-02-22T23:10:32.519" v="2777" actId="26606"/>
          <ac:spMkLst>
            <pc:docMk/>
            <pc:sldMk cId="1439613122" sldId="8311"/>
            <ac:spMk id="3" creationId="{211DD9A3-87AD-3345-9274-607BDA99AD16}"/>
          </ac:spMkLst>
        </pc:spChg>
        <pc:spChg chg="mod">
          <ac:chgData name="Casey Hurley" userId="3ac109bb-bf51-4c72-9de8-d893b15726ec" providerId="ADAL" clId="{C52D6C7C-FA3C-4455-AF71-DECF5E40A744}" dt="2021-02-24T04:39:53.135" v="5029" actId="207"/>
          <ac:spMkLst>
            <pc:docMk/>
            <pc:sldMk cId="1439613122" sldId="8311"/>
            <ac:spMk id="5" creationId="{228817A0-8BFF-1F40-A1DF-55982A9E5D2C}"/>
          </ac:spMkLst>
        </pc:spChg>
        <pc:graphicFrameChg chg="add del">
          <ac:chgData name="Casey Hurley" userId="3ac109bb-bf51-4c72-9de8-d893b15726ec" providerId="ADAL" clId="{C52D6C7C-FA3C-4455-AF71-DECF5E40A744}" dt="2021-02-22T23:08:58.066" v="2707" actId="26606"/>
          <ac:graphicFrameMkLst>
            <pc:docMk/>
            <pc:sldMk cId="1439613122" sldId="8311"/>
            <ac:graphicFrameMk id="7" creationId="{7AC11A17-55B2-46E7-9796-5E52C9D82048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09:59.465" v="2747" actId="26606"/>
          <ac:graphicFrameMkLst>
            <pc:docMk/>
            <pc:sldMk cId="1439613122" sldId="8311"/>
            <ac:graphicFrameMk id="8" creationId="{31A64417-3FF4-440B-9451-2B0E9F123496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09:06.456" v="2709" actId="26606"/>
          <ac:graphicFrameMkLst>
            <pc:docMk/>
            <pc:sldMk cId="1439613122" sldId="8311"/>
            <ac:graphicFrameMk id="9" creationId="{13E257CF-21A7-4441-B30C-13E38D126760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10:01" v="2749" actId="26606"/>
          <ac:graphicFrameMkLst>
            <pc:docMk/>
            <pc:sldMk cId="1439613122" sldId="8311"/>
            <ac:graphicFrameMk id="10" creationId="{1519135D-1DF2-4AC5-966B-F9EE36849C80}"/>
          </ac:graphicFrameMkLst>
        </pc:graphicFrameChg>
        <pc:graphicFrameChg chg="add del mod">
          <ac:chgData name="Casey Hurley" userId="3ac109bb-bf51-4c72-9de8-d893b15726ec" providerId="ADAL" clId="{C52D6C7C-FA3C-4455-AF71-DECF5E40A744}" dt="2021-02-22T23:09:42.603" v="2744" actId="26606"/>
          <ac:graphicFrameMkLst>
            <pc:docMk/>
            <pc:sldMk cId="1439613122" sldId="8311"/>
            <ac:graphicFrameMk id="11" creationId="{7AC11A17-55B2-46E7-9796-5E52C9D82048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10:05.835" v="2751" actId="26606"/>
          <ac:graphicFrameMkLst>
            <pc:docMk/>
            <pc:sldMk cId="1439613122" sldId="8311"/>
            <ac:graphicFrameMk id="12" creationId="{77AE15BF-8172-42F8-82D0-1320FB679C09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10:28.729" v="2774" actId="26606"/>
          <ac:graphicFrameMkLst>
            <pc:docMk/>
            <pc:sldMk cId="1439613122" sldId="8311"/>
            <ac:graphicFrameMk id="13" creationId="{4FB36C99-4BC5-43F3-A353-4C4817F56F12}"/>
          </ac:graphicFrameMkLst>
        </pc:graphicFrameChg>
        <pc:graphicFrameChg chg="add del">
          <ac:chgData name="Casey Hurley" userId="3ac109bb-bf51-4c72-9de8-d893b15726ec" providerId="ADAL" clId="{C52D6C7C-FA3C-4455-AF71-DECF5E40A744}" dt="2021-02-22T23:10:32.473" v="2776" actId="26606"/>
          <ac:graphicFrameMkLst>
            <pc:docMk/>
            <pc:sldMk cId="1439613122" sldId="8311"/>
            <ac:graphicFrameMk id="15" creationId="{78214EB0-1ED4-455F-874F-A7DE7DEC679C}"/>
          </ac:graphicFrameMkLst>
        </pc:graphicFrameChg>
        <pc:graphicFrameChg chg="add mod">
          <ac:chgData name="Casey Hurley" userId="3ac109bb-bf51-4c72-9de8-d893b15726ec" providerId="ADAL" clId="{C52D6C7C-FA3C-4455-AF71-DECF5E40A744}" dt="2021-02-22T23:11:15.812" v="2855" actId="20577"/>
          <ac:graphicFrameMkLst>
            <pc:docMk/>
            <pc:sldMk cId="1439613122" sldId="8311"/>
            <ac:graphicFrameMk id="17" creationId="{7EA08DA7-2394-40CC-A580-3C4BFCFC1D81}"/>
          </ac:graphicFrameMkLst>
        </pc:graphicFrameChg>
      </pc:sldChg>
      <pc:sldChg chg="addSp delSp modSp add del">
        <pc:chgData name="Casey Hurley" userId="3ac109bb-bf51-4c72-9de8-d893b15726ec" providerId="ADAL" clId="{C52D6C7C-FA3C-4455-AF71-DECF5E40A744}" dt="2021-02-25T16:46:24.443" v="7939" actId="1076"/>
        <pc:sldMkLst>
          <pc:docMk/>
          <pc:sldMk cId="1359896064" sldId="8323"/>
        </pc:sldMkLst>
        <pc:spChg chg="mod">
          <ac:chgData name="Casey Hurley" userId="3ac109bb-bf51-4c72-9de8-d893b15726ec" providerId="ADAL" clId="{C52D6C7C-FA3C-4455-AF71-DECF5E40A744}" dt="2021-02-25T16:44:45.669" v="7925" actId="14100"/>
          <ac:spMkLst>
            <pc:docMk/>
            <pc:sldMk cId="1359896064" sldId="8323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4T04:41:07.638" v="5033" actId="207"/>
          <ac:spMkLst>
            <pc:docMk/>
            <pc:sldMk cId="1359896064" sldId="8323"/>
            <ac:spMk id="40" creationId="{8A64CF47-DCFD-5E4F-9419-0C92810259DF}"/>
          </ac:spMkLst>
        </pc:spChg>
        <pc:picChg chg="add del">
          <ac:chgData name="Casey Hurley" userId="3ac109bb-bf51-4c72-9de8-d893b15726ec" providerId="ADAL" clId="{C52D6C7C-FA3C-4455-AF71-DECF5E40A744}" dt="2021-02-25T16:43:45.653" v="7914"/>
          <ac:picMkLst>
            <pc:docMk/>
            <pc:sldMk cId="1359896064" sldId="8323"/>
            <ac:picMk id="2" creationId="{9346FBBC-2EF0-4DBE-8CCD-2DE85A18F9A1}"/>
          </ac:picMkLst>
        </pc:picChg>
        <pc:picChg chg="add mod">
          <ac:chgData name="Casey Hurley" userId="3ac109bb-bf51-4c72-9de8-d893b15726ec" providerId="ADAL" clId="{C52D6C7C-FA3C-4455-AF71-DECF5E40A744}" dt="2021-02-25T16:46:24.443" v="7939" actId="1076"/>
          <ac:picMkLst>
            <pc:docMk/>
            <pc:sldMk cId="1359896064" sldId="8323"/>
            <ac:picMk id="3074" creationId="{186897E5-395E-427D-9416-399B0EEB28C9}"/>
          </ac:picMkLst>
        </pc:picChg>
        <pc:picChg chg="add mod">
          <ac:chgData name="Casey Hurley" userId="3ac109bb-bf51-4c72-9de8-d893b15726ec" providerId="ADAL" clId="{C52D6C7C-FA3C-4455-AF71-DECF5E40A744}" dt="2021-02-25T16:46:11.764" v="7937" actId="1076"/>
          <ac:picMkLst>
            <pc:docMk/>
            <pc:sldMk cId="1359896064" sldId="8323"/>
            <ac:picMk id="3076" creationId="{A633FE05-BC06-492F-8686-46F7B906F0EA}"/>
          </ac:picMkLst>
        </pc:picChg>
        <pc:picChg chg="add mod">
          <ac:chgData name="Casey Hurley" userId="3ac109bb-bf51-4c72-9de8-d893b15726ec" providerId="ADAL" clId="{C52D6C7C-FA3C-4455-AF71-DECF5E40A744}" dt="2021-02-25T16:46:19.432" v="7938" actId="1076"/>
          <ac:picMkLst>
            <pc:docMk/>
            <pc:sldMk cId="1359896064" sldId="8323"/>
            <ac:picMk id="3078" creationId="{C2B26421-788B-49DE-BF4C-6D35E4F31D7E}"/>
          </ac:picMkLst>
        </pc:picChg>
      </pc:sldChg>
      <pc:sldChg chg="modSp add del">
        <pc:chgData name="Casey Hurley" userId="3ac109bb-bf51-4c72-9de8-d893b15726ec" providerId="ADAL" clId="{C52D6C7C-FA3C-4455-AF71-DECF5E40A744}" dt="2021-02-23T17:38:29.092" v="4203" actId="2696"/>
        <pc:sldMkLst>
          <pc:docMk/>
          <pc:sldMk cId="2617242903" sldId="8324"/>
        </pc:sldMkLst>
        <pc:spChg chg="mod">
          <ac:chgData name="Casey Hurley" userId="3ac109bb-bf51-4c72-9de8-d893b15726ec" providerId="ADAL" clId="{C52D6C7C-FA3C-4455-AF71-DECF5E40A744}" dt="2021-02-23T17:31:35.329" v="4106" actId="207"/>
          <ac:spMkLst>
            <pc:docMk/>
            <pc:sldMk cId="2617242903" sldId="8324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2T23:04:37.072" v="2601" actId="20577"/>
          <ac:spMkLst>
            <pc:docMk/>
            <pc:sldMk cId="2617242903" sldId="8324"/>
            <ac:spMk id="40" creationId="{8A64CF47-DCFD-5E4F-9419-0C92810259DF}"/>
          </ac:spMkLst>
        </pc:spChg>
      </pc:sldChg>
      <pc:sldChg chg="addSp delSp modSp add addCm delCm modCm">
        <pc:chgData name="Casey Hurley" userId="3ac109bb-bf51-4c72-9de8-d893b15726ec" providerId="ADAL" clId="{C52D6C7C-FA3C-4455-AF71-DECF5E40A744}" dt="2021-02-25T16:47:45.269" v="7950" actId="1592"/>
        <pc:sldMkLst>
          <pc:docMk/>
          <pc:sldMk cId="1555627760" sldId="8325"/>
        </pc:sldMkLst>
        <pc:spChg chg="mod">
          <ac:chgData name="Casey Hurley" userId="3ac109bb-bf51-4c72-9de8-d893b15726ec" providerId="ADAL" clId="{C52D6C7C-FA3C-4455-AF71-DECF5E40A744}" dt="2021-02-24T05:42:27.534" v="7890" actId="14100"/>
          <ac:spMkLst>
            <pc:docMk/>
            <pc:sldMk cId="1555627760" sldId="8325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2T23:05:15.963" v="2625" actId="20577"/>
          <ac:spMkLst>
            <pc:docMk/>
            <pc:sldMk cId="1555627760" sldId="8325"/>
            <ac:spMk id="40" creationId="{8A64CF47-DCFD-5E4F-9419-0C92810259DF}"/>
          </ac:spMkLst>
        </pc:spChg>
        <pc:picChg chg="add del mod">
          <ac:chgData name="Casey Hurley" userId="3ac109bb-bf51-4c72-9de8-d893b15726ec" providerId="ADAL" clId="{C52D6C7C-FA3C-4455-AF71-DECF5E40A744}" dt="2021-02-25T16:46:59.368" v="7942" actId="478"/>
          <ac:picMkLst>
            <pc:docMk/>
            <pc:sldMk cId="1555627760" sldId="8325"/>
            <ac:picMk id="4098" creationId="{B14E25DA-CD57-4E5A-AB08-BE8AE2B15E4E}"/>
          </ac:picMkLst>
        </pc:picChg>
        <pc:picChg chg="add mod">
          <ac:chgData name="Casey Hurley" userId="3ac109bb-bf51-4c72-9de8-d893b15726ec" providerId="ADAL" clId="{C52D6C7C-FA3C-4455-AF71-DECF5E40A744}" dt="2021-02-25T16:47:35.372" v="7949" actId="1076"/>
          <ac:picMkLst>
            <pc:docMk/>
            <pc:sldMk cId="1555627760" sldId="8325"/>
            <ac:picMk id="4100" creationId="{B018C44C-3920-4BE0-8750-65A6266C6C29}"/>
          </ac:picMkLst>
        </pc:picChg>
      </pc:sldChg>
      <pc:sldChg chg="modSp add">
        <pc:chgData name="Casey Hurley" userId="3ac109bb-bf51-4c72-9de8-d893b15726ec" providerId="ADAL" clId="{C52D6C7C-FA3C-4455-AF71-DECF5E40A744}" dt="2021-02-23T17:53:40.346" v="4485" actId="207"/>
        <pc:sldMkLst>
          <pc:docMk/>
          <pc:sldMk cId="550544993" sldId="8326"/>
        </pc:sldMkLst>
        <pc:spChg chg="mod">
          <ac:chgData name="Casey Hurley" userId="3ac109bb-bf51-4c72-9de8-d893b15726ec" providerId="ADAL" clId="{C52D6C7C-FA3C-4455-AF71-DECF5E40A744}" dt="2021-02-23T17:53:01.380" v="4483" actId="20577"/>
          <ac:spMkLst>
            <pc:docMk/>
            <pc:sldMk cId="550544993" sldId="8326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3T17:53:40.346" v="4485" actId="207"/>
          <ac:spMkLst>
            <pc:docMk/>
            <pc:sldMk cId="550544993" sldId="8326"/>
            <ac:spMk id="40" creationId="{8A64CF47-DCFD-5E4F-9419-0C92810259DF}"/>
          </ac:spMkLst>
        </pc:spChg>
      </pc:sldChg>
      <pc:sldChg chg="modSp add">
        <pc:chgData name="Casey Hurley" userId="3ac109bb-bf51-4c72-9de8-d893b15726ec" providerId="ADAL" clId="{C52D6C7C-FA3C-4455-AF71-DECF5E40A744}" dt="2021-02-25T16:48:13.003" v="7951" actId="948"/>
        <pc:sldMkLst>
          <pc:docMk/>
          <pc:sldMk cId="3164451250" sldId="8327"/>
        </pc:sldMkLst>
        <pc:spChg chg="mod">
          <ac:chgData name="Casey Hurley" userId="3ac109bb-bf51-4c72-9de8-d893b15726ec" providerId="ADAL" clId="{C52D6C7C-FA3C-4455-AF71-DECF5E40A744}" dt="2021-02-25T16:48:13.003" v="7951" actId="948"/>
          <ac:spMkLst>
            <pc:docMk/>
            <pc:sldMk cId="3164451250" sldId="8327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4T04:40:46.180" v="5030" actId="207"/>
          <ac:spMkLst>
            <pc:docMk/>
            <pc:sldMk cId="3164451250" sldId="8327"/>
            <ac:spMk id="40" creationId="{8A64CF47-DCFD-5E4F-9419-0C92810259DF}"/>
          </ac:spMkLst>
        </pc:spChg>
      </pc:sldChg>
      <pc:sldChg chg="delSp modSp add addCm delCm modCm">
        <pc:chgData name="Casey Hurley" userId="3ac109bb-bf51-4c72-9de8-d893b15726ec" providerId="ADAL" clId="{C52D6C7C-FA3C-4455-AF71-DECF5E40A744}" dt="2021-02-24T04:59:15.471" v="5216" actId="1592"/>
        <pc:sldMkLst>
          <pc:docMk/>
          <pc:sldMk cId="1379823294" sldId="8328"/>
        </pc:sldMkLst>
        <pc:spChg chg="mod">
          <ac:chgData name="Casey Hurley" userId="3ac109bb-bf51-4c72-9de8-d893b15726ec" providerId="ADAL" clId="{C52D6C7C-FA3C-4455-AF71-DECF5E40A744}" dt="2021-02-24T04:42:50.068" v="5041" actId="2711"/>
          <ac:spMkLst>
            <pc:docMk/>
            <pc:sldMk cId="1379823294" sldId="8328"/>
            <ac:spMk id="2" creationId="{6AB007F7-61B7-41A2-954B-66BB16962755}"/>
          </ac:spMkLst>
        </pc:spChg>
        <pc:spChg chg="mod">
          <ac:chgData name="Casey Hurley" userId="3ac109bb-bf51-4c72-9de8-d893b15726ec" providerId="ADAL" clId="{C52D6C7C-FA3C-4455-AF71-DECF5E40A744}" dt="2021-02-22T23:21:43.065" v="3507" actId="20577"/>
          <ac:spMkLst>
            <pc:docMk/>
            <pc:sldMk cId="1379823294" sldId="8328"/>
            <ac:spMk id="3" creationId="{384B2963-D4DA-4E80-9542-8ABE20DC8936}"/>
          </ac:spMkLst>
        </pc:spChg>
        <pc:spChg chg="del">
          <ac:chgData name="Casey Hurley" userId="3ac109bb-bf51-4c72-9de8-d893b15726ec" providerId="ADAL" clId="{C52D6C7C-FA3C-4455-AF71-DECF5E40A744}" dt="2021-02-23T17:48:25.297" v="4463" actId="478"/>
          <ac:spMkLst>
            <pc:docMk/>
            <pc:sldMk cId="1379823294" sldId="8328"/>
            <ac:spMk id="130" creationId="{FACE6095-8A6A-4F95-AAFF-B7EA3E21C081}"/>
          </ac:spMkLst>
        </pc:spChg>
      </pc:sldChg>
      <pc:sldChg chg="modSp add ord addCm delCm modCm">
        <pc:chgData name="Casey Hurley" userId="3ac109bb-bf51-4c72-9de8-d893b15726ec" providerId="ADAL" clId="{C52D6C7C-FA3C-4455-AF71-DECF5E40A744}" dt="2021-02-24T04:59:05.464" v="5215" actId="403"/>
        <pc:sldMkLst>
          <pc:docMk/>
          <pc:sldMk cId="3076141662" sldId="8329"/>
        </pc:sldMkLst>
        <pc:spChg chg="mod">
          <ac:chgData name="Casey Hurley" userId="3ac109bb-bf51-4c72-9de8-d893b15726ec" providerId="ADAL" clId="{C52D6C7C-FA3C-4455-AF71-DECF5E40A744}" dt="2021-02-22T23:22:02.597" v="3526" actId="20577"/>
          <ac:spMkLst>
            <pc:docMk/>
            <pc:sldMk cId="3076141662" sldId="8329"/>
            <ac:spMk id="2" creationId="{F7CF2891-3F4F-4286-9EB7-7AADAD6C29A0}"/>
          </ac:spMkLst>
        </pc:spChg>
        <pc:spChg chg="mod">
          <ac:chgData name="Casey Hurley" userId="3ac109bb-bf51-4c72-9de8-d893b15726ec" providerId="ADAL" clId="{C52D6C7C-FA3C-4455-AF71-DECF5E40A744}" dt="2021-02-24T04:59:05.464" v="5215" actId="403"/>
          <ac:spMkLst>
            <pc:docMk/>
            <pc:sldMk cId="3076141662" sldId="8329"/>
            <ac:spMk id="3" creationId="{3146D136-069C-440B-8947-29FE96A69725}"/>
          </ac:spMkLst>
        </pc:spChg>
      </pc:sldChg>
      <pc:sldChg chg="modSp add">
        <pc:chgData name="Casey Hurley" userId="3ac109bb-bf51-4c72-9de8-d893b15726ec" providerId="ADAL" clId="{C52D6C7C-FA3C-4455-AF71-DECF5E40A744}" dt="2021-02-24T04:40:50.967" v="5031" actId="207"/>
        <pc:sldMkLst>
          <pc:docMk/>
          <pc:sldMk cId="1894225924" sldId="8330"/>
        </pc:sldMkLst>
        <pc:spChg chg="mod">
          <ac:chgData name="Casey Hurley" userId="3ac109bb-bf51-4c72-9de8-d893b15726ec" providerId="ADAL" clId="{C52D6C7C-FA3C-4455-AF71-DECF5E40A744}" dt="2021-02-24T04:40:50.967" v="5031" actId="207"/>
          <ac:spMkLst>
            <pc:docMk/>
            <pc:sldMk cId="1894225924" sldId="8330"/>
            <ac:spMk id="2" creationId="{5E06FF94-96EF-7C40-B83E-1D38B035AD74}"/>
          </ac:spMkLst>
        </pc:spChg>
        <pc:spChg chg="mod">
          <ac:chgData name="Casey Hurley" userId="3ac109bb-bf51-4c72-9de8-d893b15726ec" providerId="ADAL" clId="{C52D6C7C-FA3C-4455-AF71-DECF5E40A744}" dt="2021-02-23T17:52:34.889" v="4480" actId="12"/>
          <ac:spMkLst>
            <pc:docMk/>
            <pc:sldMk cId="1894225924" sldId="8330"/>
            <ac:spMk id="8" creationId="{5F05FDB8-D98D-BB47-98F3-3338D79E3752}"/>
          </ac:spMkLst>
        </pc:spChg>
        <pc:spChg chg="mod">
          <ac:chgData name="Casey Hurley" userId="3ac109bb-bf51-4c72-9de8-d893b15726ec" providerId="ADAL" clId="{C52D6C7C-FA3C-4455-AF71-DECF5E40A744}" dt="2021-02-23T17:52:39.340" v="4481" actId="12"/>
          <ac:spMkLst>
            <pc:docMk/>
            <pc:sldMk cId="1894225924" sldId="8330"/>
            <ac:spMk id="13" creationId="{A3E50544-4E42-A74E-B8E1-C9AF9EC0F711}"/>
          </ac:spMkLst>
        </pc:spChg>
      </pc:sldChg>
      <pc:sldChg chg="addSp delSp modSp add addCm delCm modCm">
        <pc:chgData name="Casey Hurley" userId="3ac109bb-bf51-4c72-9de8-d893b15726ec" providerId="ADAL" clId="{C52D6C7C-FA3C-4455-AF71-DECF5E40A744}" dt="2021-02-24T04:40:55.741" v="5032" actId="207"/>
        <pc:sldMkLst>
          <pc:docMk/>
          <pc:sldMk cId="1280115441" sldId="8331"/>
        </pc:sldMkLst>
        <pc:spChg chg="mod">
          <ac:chgData name="Casey Hurley" userId="3ac109bb-bf51-4c72-9de8-d893b15726ec" providerId="ADAL" clId="{C52D6C7C-FA3C-4455-AF71-DECF5E40A744}" dt="2021-02-24T04:40:55.741" v="5032" actId="207"/>
          <ac:spMkLst>
            <pc:docMk/>
            <pc:sldMk cId="1280115441" sldId="8331"/>
            <ac:spMk id="2" creationId="{5E06FF94-96EF-7C40-B83E-1D38B035AD74}"/>
          </ac:spMkLst>
        </pc:spChg>
        <pc:spChg chg="add del mod">
          <ac:chgData name="Casey Hurley" userId="3ac109bb-bf51-4c72-9de8-d893b15726ec" providerId="ADAL" clId="{C52D6C7C-FA3C-4455-AF71-DECF5E40A744}" dt="2021-02-22T23:26:25.957" v="3650" actId="478"/>
          <ac:spMkLst>
            <pc:docMk/>
            <pc:sldMk cId="1280115441" sldId="8331"/>
            <ac:spMk id="5" creationId="{1D2D4BC4-71C2-4DE6-8251-07039E514F5A}"/>
          </ac:spMkLst>
        </pc:spChg>
        <pc:spChg chg="add del mod">
          <ac:chgData name="Casey Hurley" userId="3ac109bb-bf51-4c72-9de8-d893b15726ec" providerId="ADAL" clId="{C52D6C7C-FA3C-4455-AF71-DECF5E40A744}" dt="2021-02-22T23:26:31.218" v="3652" actId="478"/>
          <ac:spMkLst>
            <pc:docMk/>
            <pc:sldMk cId="1280115441" sldId="8331"/>
            <ac:spMk id="7" creationId="{4E2A3A6B-F8C0-43B3-B9AE-C60CE27996D6}"/>
          </ac:spMkLst>
        </pc:spChg>
        <pc:spChg chg="del">
          <ac:chgData name="Casey Hurley" userId="3ac109bb-bf51-4c72-9de8-d893b15726ec" providerId="ADAL" clId="{C52D6C7C-FA3C-4455-AF71-DECF5E40A744}" dt="2021-02-22T23:26:23.727" v="3649" actId="478"/>
          <ac:spMkLst>
            <pc:docMk/>
            <pc:sldMk cId="1280115441" sldId="8331"/>
            <ac:spMk id="8" creationId="{5F05FDB8-D98D-BB47-98F3-3338D79E3752}"/>
          </ac:spMkLst>
        </pc:spChg>
        <pc:spChg chg="del">
          <ac:chgData name="Casey Hurley" userId="3ac109bb-bf51-4c72-9de8-d893b15726ec" providerId="ADAL" clId="{C52D6C7C-FA3C-4455-AF71-DECF5E40A744}" dt="2021-02-22T23:26:28.586" v="3651" actId="478"/>
          <ac:spMkLst>
            <pc:docMk/>
            <pc:sldMk cId="1280115441" sldId="8331"/>
            <ac:spMk id="13" creationId="{A3E50544-4E42-A74E-B8E1-C9AF9EC0F711}"/>
          </ac:spMkLst>
        </pc:spChg>
        <pc:picChg chg="mod modCrop">
          <ac:chgData name="Casey Hurley" userId="3ac109bb-bf51-4c72-9de8-d893b15726ec" providerId="ADAL" clId="{C52D6C7C-FA3C-4455-AF71-DECF5E40A744}" dt="2021-02-23T17:52:25.418" v="4479" actId="1076"/>
          <ac:picMkLst>
            <pc:docMk/>
            <pc:sldMk cId="1280115441" sldId="8331"/>
            <ac:picMk id="5" creationId="{D3184401-BA19-4025-917B-C6C98A5F45D3}"/>
          </ac:picMkLst>
        </pc:picChg>
        <pc:picChg chg="add del">
          <ac:chgData name="Casey Hurley" userId="3ac109bb-bf51-4c72-9de8-d893b15726ec" providerId="ADAL" clId="{C52D6C7C-FA3C-4455-AF71-DECF5E40A744}" dt="2021-02-23T17:51:59.400" v="4474" actId="478"/>
          <ac:picMkLst>
            <pc:docMk/>
            <pc:sldMk cId="1280115441" sldId="8331"/>
            <ac:picMk id="10" creationId="{E65570F3-59F6-40CC-BBD4-E1D2D3E56B4C}"/>
          </ac:picMkLst>
        </pc:picChg>
      </pc:sldChg>
      <pc:sldChg chg="addSp delSp modSp add ord addCm modCm">
        <pc:chgData name="Casey Hurley" userId="3ac109bb-bf51-4c72-9de8-d893b15726ec" providerId="ADAL" clId="{C52D6C7C-FA3C-4455-AF71-DECF5E40A744}" dt="2021-02-25T16:36:40.670" v="7891" actId="14100"/>
        <pc:sldMkLst>
          <pc:docMk/>
          <pc:sldMk cId="308053170" sldId="8332"/>
        </pc:sldMkLst>
        <pc:spChg chg="mod">
          <ac:chgData name="Casey Hurley" userId="3ac109bb-bf51-4c72-9de8-d893b15726ec" providerId="ADAL" clId="{C52D6C7C-FA3C-4455-AF71-DECF5E40A744}" dt="2021-02-24T04:41:52.448" v="5035" actId="207"/>
          <ac:spMkLst>
            <pc:docMk/>
            <pc:sldMk cId="308053170" sldId="8332"/>
            <ac:spMk id="2" creationId="{5E06FF94-96EF-7C40-B83E-1D38B035AD74}"/>
          </ac:spMkLst>
        </pc:spChg>
        <pc:spChg chg="add del mod">
          <ac:chgData name="Casey Hurley" userId="3ac109bb-bf51-4c72-9de8-d893b15726ec" providerId="ADAL" clId="{C52D6C7C-FA3C-4455-AF71-DECF5E40A744}" dt="2021-02-22T23:27:39.282" v="3674"/>
          <ac:spMkLst>
            <pc:docMk/>
            <pc:sldMk cId="308053170" sldId="8332"/>
            <ac:spMk id="5" creationId="{668D2527-5B0B-425B-B01A-AA624A25906A}"/>
          </ac:spMkLst>
        </pc:spChg>
        <pc:spChg chg="del">
          <ac:chgData name="Casey Hurley" userId="3ac109bb-bf51-4c72-9de8-d893b15726ec" providerId="ADAL" clId="{C52D6C7C-FA3C-4455-AF71-DECF5E40A744}" dt="2021-02-22T23:27:29.843" v="3673" actId="478"/>
          <ac:spMkLst>
            <pc:docMk/>
            <pc:sldMk cId="308053170" sldId="8332"/>
            <ac:spMk id="8" creationId="{5F05FDB8-D98D-BB47-98F3-3338D79E3752}"/>
          </ac:spMkLst>
        </pc:spChg>
        <pc:spChg chg="mod">
          <ac:chgData name="Casey Hurley" userId="3ac109bb-bf51-4c72-9de8-d893b15726ec" providerId="ADAL" clId="{C52D6C7C-FA3C-4455-AF71-DECF5E40A744}" dt="2021-02-25T16:36:40.670" v="7891" actId="14100"/>
          <ac:spMkLst>
            <pc:docMk/>
            <pc:sldMk cId="308053170" sldId="8332"/>
            <ac:spMk id="13" creationId="{A3E50544-4E42-A74E-B8E1-C9AF9EC0F711}"/>
          </ac:spMkLst>
        </pc:spChg>
        <pc:picChg chg="add mod">
          <ac:chgData name="Casey Hurley" userId="3ac109bb-bf51-4c72-9de8-d893b15726ec" providerId="ADAL" clId="{C52D6C7C-FA3C-4455-AF71-DECF5E40A744}" dt="2021-02-22T23:35:10.430" v="3728" actId="1076"/>
          <ac:picMkLst>
            <pc:docMk/>
            <pc:sldMk cId="308053170" sldId="8332"/>
            <ac:picMk id="9" creationId="{FB2ED9AB-F539-492D-882C-22882BE6E470}"/>
          </ac:picMkLst>
        </pc:picChg>
      </pc:sldChg>
      <pc:sldChg chg="modSp add">
        <pc:chgData name="Casey Hurley" userId="3ac109bb-bf51-4c72-9de8-d893b15726ec" providerId="ADAL" clId="{C52D6C7C-FA3C-4455-AF71-DECF5E40A744}" dt="2021-02-24T04:55:12.238" v="5210" actId="14100"/>
        <pc:sldMkLst>
          <pc:docMk/>
          <pc:sldMk cId="3087477339" sldId="8333"/>
        </pc:sldMkLst>
        <pc:spChg chg="mod">
          <ac:chgData name="Casey Hurley" userId="3ac109bb-bf51-4c72-9de8-d893b15726ec" providerId="ADAL" clId="{C52D6C7C-FA3C-4455-AF71-DECF5E40A744}" dt="2021-02-24T04:55:12.238" v="5210" actId="14100"/>
          <ac:spMkLst>
            <pc:docMk/>
            <pc:sldMk cId="3087477339" sldId="8333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4T04:41:13.281" v="5034" actId="207"/>
          <ac:spMkLst>
            <pc:docMk/>
            <pc:sldMk cId="3087477339" sldId="8333"/>
            <ac:spMk id="40" creationId="{8A64CF47-DCFD-5E4F-9419-0C92810259DF}"/>
          </ac:spMkLst>
        </pc:spChg>
      </pc:sldChg>
      <pc:sldChg chg="addSp modSp add">
        <pc:chgData name="Casey Hurley" userId="3ac109bb-bf51-4c72-9de8-d893b15726ec" providerId="ADAL" clId="{C52D6C7C-FA3C-4455-AF71-DECF5E40A744}" dt="2021-02-25T16:49:04.465" v="7955" actId="20577"/>
        <pc:sldMkLst>
          <pc:docMk/>
          <pc:sldMk cId="2035203840" sldId="8334"/>
        </pc:sldMkLst>
        <pc:spChg chg="add mod">
          <ac:chgData name="Casey Hurley" userId="3ac109bb-bf51-4c72-9de8-d893b15726ec" providerId="ADAL" clId="{C52D6C7C-FA3C-4455-AF71-DECF5E40A744}" dt="2021-02-25T16:38:33.860" v="7903" actId="948"/>
          <ac:spMkLst>
            <pc:docMk/>
            <pc:sldMk cId="2035203840" sldId="8334"/>
            <ac:spMk id="2" creationId="{1C4BF5E6-84D0-4D42-A98D-67E529ED1EC2}"/>
          </ac:spMkLst>
        </pc:spChg>
        <pc:spChg chg="mod">
          <ac:chgData name="Casey Hurley" userId="3ac109bb-bf51-4c72-9de8-d893b15726ec" providerId="ADAL" clId="{C52D6C7C-FA3C-4455-AF71-DECF5E40A744}" dt="2021-02-25T16:49:04.465" v="7955" actId="20577"/>
          <ac:spMkLst>
            <pc:docMk/>
            <pc:sldMk cId="2035203840" sldId="8334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5T16:37:44.639" v="7897" actId="14100"/>
          <ac:spMkLst>
            <pc:docMk/>
            <pc:sldMk cId="2035203840" sldId="8334"/>
            <ac:spMk id="40" creationId="{8A64CF47-DCFD-5E4F-9419-0C92810259DF}"/>
          </ac:spMkLst>
        </pc:spChg>
      </pc:sldChg>
      <pc:sldChg chg="addSp delSp modSp add">
        <pc:chgData name="Casey Hurley" userId="3ac109bb-bf51-4c72-9de8-d893b15726ec" providerId="ADAL" clId="{C52D6C7C-FA3C-4455-AF71-DECF5E40A744}" dt="2021-02-24T04:52:58.299" v="5181" actId="1076"/>
        <pc:sldMkLst>
          <pc:docMk/>
          <pc:sldMk cId="3536580272" sldId="8335"/>
        </pc:sldMkLst>
        <pc:spChg chg="del">
          <ac:chgData name="Casey Hurley" userId="3ac109bb-bf51-4c72-9de8-d893b15726ec" providerId="ADAL" clId="{C52D6C7C-FA3C-4455-AF71-DECF5E40A744}" dt="2021-02-23T17:59:41.194" v="4564"/>
          <ac:spMkLst>
            <pc:docMk/>
            <pc:sldMk cId="3536580272" sldId="8335"/>
            <ac:spMk id="2" creationId="{7560C00F-FDD9-4743-9119-045EE479E534}"/>
          </ac:spMkLst>
        </pc:spChg>
        <pc:spChg chg="del">
          <ac:chgData name="Casey Hurley" userId="3ac109bb-bf51-4c72-9de8-d893b15726ec" providerId="ADAL" clId="{C52D6C7C-FA3C-4455-AF71-DECF5E40A744}" dt="2021-02-23T17:59:41.194" v="4564"/>
          <ac:spMkLst>
            <pc:docMk/>
            <pc:sldMk cId="3536580272" sldId="8335"/>
            <ac:spMk id="3" creationId="{1A135892-8042-4D53-A34C-43214F64A1E0}"/>
          </ac:spMkLst>
        </pc:spChg>
        <pc:spChg chg="del">
          <ac:chgData name="Casey Hurley" userId="3ac109bb-bf51-4c72-9de8-d893b15726ec" providerId="ADAL" clId="{C52D6C7C-FA3C-4455-AF71-DECF5E40A744}" dt="2021-02-23T17:59:41.194" v="4564"/>
          <ac:spMkLst>
            <pc:docMk/>
            <pc:sldMk cId="3536580272" sldId="8335"/>
            <ac:spMk id="5" creationId="{A6B27F5A-2081-4A19-83A8-9754EC4F5BAA}"/>
          </ac:spMkLst>
        </pc:spChg>
        <pc:spChg chg="add del mod">
          <ac:chgData name="Casey Hurley" userId="3ac109bb-bf51-4c72-9de8-d893b15726ec" providerId="ADAL" clId="{C52D6C7C-FA3C-4455-AF71-DECF5E40A744}" dt="2021-02-23T17:59:49.372" v="4565"/>
          <ac:spMkLst>
            <pc:docMk/>
            <pc:sldMk cId="3536580272" sldId="8335"/>
            <ac:spMk id="6" creationId="{D6B6FF33-D61F-4590-8093-7DDA77C678DF}"/>
          </ac:spMkLst>
        </pc:spChg>
        <pc:spChg chg="add mod">
          <ac:chgData name="Casey Hurley" userId="3ac109bb-bf51-4c72-9de8-d893b15726ec" providerId="ADAL" clId="{C52D6C7C-FA3C-4455-AF71-DECF5E40A744}" dt="2021-02-24T04:51:57.708" v="5136" actId="242"/>
          <ac:spMkLst>
            <pc:docMk/>
            <pc:sldMk cId="3536580272" sldId="8335"/>
            <ac:spMk id="7" creationId="{7D47AE12-6607-4A56-B48C-09C835870834}"/>
          </ac:spMkLst>
        </pc:spChg>
        <pc:spChg chg="add del mod">
          <ac:chgData name="Casey Hurley" userId="3ac109bb-bf51-4c72-9de8-d893b15726ec" providerId="ADAL" clId="{C52D6C7C-FA3C-4455-AF71-DECF5E40A744}" dt="2021-02-23T17:59:59.332" v="4586" actId="478"/>
          <ac:spMkLst>
            <pc:docMk/>
            <pc:sldMk cId="3536580272" sldId="8335"/>
            <ac:spMk id="8" creationId="{319B7A89-C16A-4300-A48C-2F001D318A7F}"/>
          </ac:spMkLst>
        </pc:spChg>
        <pc:spChg chg="add mod">
          <ac:chgData name="Casey Hurley" userId="3ac109bb-bf51-4c72-9de8-d893b15726ec" providerId="ADAL" clId="{C52D6C7C-FA3C-4455-AF71-DECF5E40A744}" dt="2021-02-24T04:52:49.408" v="5179" actId="1076"/>
          <ac:spMkLst>
            <pc:docMk/>
            <pc:sldMk cId="3536580272" sldId="8335"/>
            <ac:spMk id="12" creationId="{84F585B7-3720-420E-BF67-B6450812B19A}"/>
          </ac:spMkLst>
        </pc:spChg>
        <pc:spChg chg="add mod">
          <ac:chgData name="Casey Hurley" userId="3ac109bb-bf51-4c72-9de8-d893b15726ec" providerId="ADAL" clId="{C52D6C7C-FA3C-4455-AF71-DECF5E40A744}" dt="2021-02-24T04:52:18.629" v="5169" actId="1038"/>
          <ac:spMkLst>
            <pc:docMk/>
            <pc:sldMk cId="3536580272" sldId="8335"/>
            <ac:spMk id="14" creationId="{08BAA104-B940-47B5-B767-F6205F566D9A}"/>
          </ac:spMkLst>
        </pc:spChg>
        <pc:spChg chg="add mod">
          <ac:chgData name="Casey Hurley" userId="3ac109bb-bf51-4c72-9de8-d893b15726ec" providerId="ADAL" clId="{C52D6C7C-FA3C-4455-AF71-DECF5E40A744}" dt="2021-02-24T04:52:58.299" v="5181" actId="1076"/>
          <ac:spMkLst>
            <pc:docMk/>
            <pc:sldMk cId="3536580272" sldId="8335"/>
            <ac:spMk id="16" creationId="{955B5E3C-03A6-4CAD-8ABA-8A043A351638}"/>
          </ac:spMkLst>
        </pc:spChg>
        <pc:spChg chg="add mod">
          <ac:chgData name="Casey Hurley" userId="3ac109bb-bf51-4c72-9de8-d893b15726ec" providerId="ADAL" clId="{C52D6C7C-FA3C-4455-AF71-DECF5E40A744}" dt="2021-02-24T04:52:52.242" v="5180" actId="1076"/>
          <ac:spMkLst>
            <pc:docMk/>
            <pc:sldMk cId="3536580272" sldId="8335"/>
            <ac:spMk id="17" creationId="{A10012B3-C1C5-4A7D-B419-AEF2540A1CA3}"/>
          </ac:spMkLst>
        </pc:spChg>
        <pc:picChg chg="add mod">
          <ac:chgData name="Casey Hurley" userId="3ac109bb-bf51-4c72-9de8-d893b15726ec" providerId="ADAL" clId="{C52D6C7C-FA3C-4455-AF71-DECF5E40A744}" dt="2021-02-24T04:52:26.300" v="5171" actId="1076"/>
          <ac:picMkLst>
            <pc:docMk/>
            <pc:sldMk cId="3536580272" sldId="8335"/>
            <ac:picMk id="9" creationId="{3178759A-F169-4535-A1EA-1B7F9A62AAEF}"/>
          </ac:picMkLst>
        </pc:picChg>
        <pc:picChg chg="add mod">
          <ac:chgData name="Casey Hurley" userId="3ac109bb-bf51-4c72-9de8-d893b15726ec" providerId="ADAL" clId="{C52D6C7C-FA3C-4455-AF71-DECF5E40A744}" dt="2021-02-24T04:52:23.905" v="5170" actId="1076"/>
          <ac:picMkLst>
            <pc:docMk/>
            <pc:sldMk cId="3536580272" sldId="8335"/>
            <ac:picMk id="10" creationId="{4B542759-4C31-4AD9-9829-9411A5C5BB22}"/>
          </ac:picMkLst>
        </pc:picChg>
        <pc:picChg chg="add mod">
          <ac:chgData name="Casey Hurley" userId="3ac109bb-bf51-4c72-9de8-d893b15726ec" providerId="ADAL" clId="{C52D6C7C-FA3C-4455-AF71-DECF5E40A744}" dt="2021-02-24T04:52:18.629" v="5169" actId="1038"/>
          <ac:picMkLst>
            <pc:docMk/>
            <pc:sldMk cId="3536580272" sldId="8335"/>
            <ac:picMk id="11" creationId="{27063D6C-CA9F-410A-B32F-7A19375DB6B9}"/>
          </ac:picMkLst>
        </pc:picChg>
        <pc:picChg chg="add mod">
          <ac:chgData name="Casey Hurley" userId="3ac109bb-bf51-4c72-9de8-d893b15726ec" providerId="ADAL" clId="{C52D6C7C-FA3C-4455-AF71-DECF5E40A744}" dt="2021-02-24T04:52:18.629" v="5169" actId="1038"/>
          <ac:picMkLst>
            <pc:docMk/>
            <pc:sldMk cId="3536580272" sldId="8335"/>
            <ac:picMk id="13" creationId="{077A99AF-727F-44B4-A766-786079E81BE4}"/>
          </ac:picMkLst>
        </pc:picChg>
        <pc:picChg chg="add mod">
          <ac:chgData name="Casey Hurley" userId="3ac109bb-bf51-4c72-9de8-d893b15726ec" providerId="ADAL" clId="{C52D6C7C-FA3C-4455-AF71-DECF5E40A744}" dt="2021-02-24T04:51:05.119" v="5126" actId="1036"/>
          <ac:picMkLst>
            <pc:docMk/>
            <pc:sldMk cId="3536580272" sldId="8335"/>
            <ac:picMk id="15" creationId="{83D23C55-221F-4BFC-81AB-CBD49FF0D405}"/>
          </ac:picMkLst>
        </pc:picChg>
      </pc:sldChg>
      <pc:sldChg chg="modSp">
        <pc:chgData name="Casey Hurley" userId="3ac109bb-bf51-4c72-9de8-d893b15726ec" providerId="ADAL" clId="{C52D6C7C-FA3C-4455-AF71-DECF5E40A744}" dt="2021-02-24T04:54:24.985" v="5209" actId="20577"/>
        <pc:sldMkLst>
          <pc:docMk/>
          <pc:sldMk cId="359428545" sldId="8336"/>
        </pc:sldMkLst>
        <pc:spChg chg="mod">
          <ac:chgData name="Casey Hurley" userId="3ac109bb-bf51-4c72-9de8-d893b15726ec" providerId="ADAL" clId="{C52D6C7C-FA3C-4455-AF71-DECF5E40A744}" dt="2021-02-24T04:54:24.985" v="5209" actId="20577"/>
          <ac:spMkLst>
            <pc:docMk/>
            <pc:sldMk cId="359428545" sldId="8336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4T04:42:27.319" v="5040" actId="403"/>
          <ac:spMkLst>
            <pc:docMk/>
            <pc:sldMk cId="359428545" sldId="8336"/>
            <ac:spMk id="40" creationId="{8A64CF47-DCFD-5E4F-9419-0C92810259DF}"/>
          </ac:spMkLst>
        </pc:spChg>
        <pc:picChg chg="mod">
          <ac:chgData name="Casey Hurley" userId="3ac109bb-bf51-4c72-9de8-d893b15726ec" providerId="ADAL" clId="{C52D6C7C-FA3C-4455-AF71-DECF5E40A744}" dt="2021-02-24T04:53:58.267" v="5188" actId="1076"/>
          <ac:picMkLst>
            <pc:docMk/>
            <pc:sldMk cId="359428545" sldId="8336"/>
            <ac:picMk id="61442" creationId="{54761B7F-C222-48F0-B295-FFFFF945943F}"/>
          </ac:picMkLst>
        </pc:picChg>
      </pc:sldChg>
      <pc:sldChg chg="modSp">
        <pc:chgData name="Casey Hurley" userId="3ac109bb-bf51-4c72-9de8-d893b15726ec" providerId="ADAL" clId="{C52D6C7C-FA3C-4455-AF71-DECF5E40A744}" dt="2021-02-24T05:01:17.294" v="5227" actId="20577"/>
        <pc:sldMkLst>
          <pc:docMk/>
          <pc:sldMk cId="2991100086" sldId="8337"/>
        </pc:sldMkLst>
        <pc:spChg chg="mod">
          <ac:chgData name="Casey Hurley" userId="3ac109bb-bf51-4c72-9de8-d893b15726ec" providerId="ADAL" clId="{C52D6C7C-FA3C-4455-AF71-DECF5E40A744}" dt="2021-02-24T05:01:17.294" v="5227" actId="20577"/>
          <ac:spMkLst>
            <pc:docMk/>
            <pc:sldMk cId="2991100086" sldId="8337"/>
            <ac:spMk id="31" creationId="{8284932E-FEE2-AD48-9AE9-C39F6972B2C0}"/>
          </ac:spMkLst>
        </pc:spChg>
        <pc:spChg chg="mod">
          <ac:chgData name="Casey Hurley" userId="3ac109bb-bf51-4c72-9de8-d893b15726ec" providerId="ADAL" clId="{C52D6C7C-FA3C-4455-AF71-DECF5E40A744}" dt="2021-02-24T04:43:25.936" v="5044" actId="207"/>
          <ac:spMkLst>
            <pc:docMk/>
            <pc:sldMk cId="2991100086" sldId="8337"/>
            <ac:spMk id="40" creationId="{8A64CF47-DCFD-5E4F-9419-0C92810259DF}"/>
          </ac:spMkLst>
        </pc:spChg>
      </pc:sldChg>
      <pc:sldChg chg="modSp add addCm delCm modCm">
        <pc:chgData name="Casey Hurley" userId="3ac109bb-bf51-4c72-9de8-d893b15726ec" providerId="ADAL" clId="{C52D6C7C-FA3C-4455-AF71-DECF5E40A744}" dt="2021-02-24T05:37:01.423" v="7492" actId="1592"/>
        <pc:sldMkLst>
          <pc:docMk/>
          <pc:sldMk cId="2537106749" sldId="8338"/>
        </pc:sldMkLst>
        <pc:spChg chg="mod">
          <ac:chgData name="Casey Hurley" userId="3ac109bb-bf51-4c72-9de8-d893b15726ec" providerId="ADAL" clId="{C52D6C7C-FA3C-4455-AF71-DECF5E40A744}" dt="2021-02-24T04:43:55.913" v="5049" actId="207"/>
          <ac:spMkLst>
            <pc:docMk/>
            <pc:sldMk cId="2537106749" sldId="8338"/>
            <ac:spMk id="2" creationId="{317DDD2E-6FAC-48C9-970E-1304741942E0}"/>
          </ac:spMkLst>
        </pc:spChg>
        <pc:spChg chg="mod">
          <ac:chgData name="Casey Hurley" userId="3ac109bb-bf51-4c72-9de8-d893b15726ec" providerId="ADAL" clId="{C52D6C7C-FA3C-4455-AF71-DECF5E40A744}" dt="2021-02-24T04:44:29.652" v="5053" actId="207"/>
          <ac:spMkLst>
            <pc:docMk/>
            <pc:sldMk cId="2537106749" sldId="8338"/>
            <ac:spMk id="3" creationId="{4F16D2CF-1C27-45A8-B691-6F828CE70CFD}"/>
          </ac:spMkLst>
        </pc:spChg>
      </pc:sldChg>
      <pc:sldChg chg="add del">
        <pc:chgData name="Casey Hurley" userId="3ac109bb-bf51-4c72-9de8-d893b15726ec" providerId="ADAL" clId="{C52D6C7C-FA3C-4455-AF71-DECF5E40A744}" dt="2021-02-24T04:34:38.979" v="4996" actId="2696"/>
        <pc:sldMkLst>
          <pc:docMk/>
          <pc:sldMk cId="3535752530" sldId="8339"/>
        </pc:sldMkLst>
      </pc:sldChg>
    </pc:docChg>
  </pc:docChgLst>
  <pc:docChgLst>
    <pc:chgData name="Marisa Thierheimer" userId="S::marisa.thierheimer@gilead.com::07952294-6d4f-4d2a-8b81-10a1d66b7196" providerId="AD" clId="Web-{00000000-0000-0000-0000-000000000000}"/>
    <pc:docChg chg="addSld delSld modSld">
      <pc:chgData name="Marisa Thierheimer" userId="S::marisa.thierheimer@gilead.com::07952294-6d4f-4d2a-8b81-10a1d66b7196" providerId="AD" clId="Web-{00000000-0000-0000-0000-000000000000}" dt="2021-02-26T04:18:55.607" v="475" actId="20577"/>
      <pc:docMkLst>
        <pc:docMk/>
      </pc:docMkLst>
      <pc:sldChg chg="modSp">
        <pc:chgData name="Marisa Thierheimer" userId="S::marisa.thierheimer@gilead.com::07952294-6d4f-4d2a-8b81-10a1d66b7196" providerId="AD" clId="Web-{00000000-0000-0000-0000-000000000000}" dt="2021-02-22T22:29:39.435" v="6" actId="20577"/>
        <pc:sldMkLst>
          <pc:docMk/>
          <pc:sldMk cId="468651137" sldId="258"/>
        </pc:sldMkLst>
        <pc:spChg chg="mod">
          <ac:chgData name="Marisa Thierheimer" userId="S::marisa.thierheimer@gilead.com::07952294-6d4f-4d2a-8b81-10a1d66b7196" providerId="AD" clId="Web-{00000000-0000-0000-0000-000000000000}" dt="2021-02-22T22:29:39.435" v="6" actId="20577"/>
          <ac:spMkLst>
            <pc:docMk/>
            <pc:sldMk cId="468651137" sldId="258"/>
            <ac:spMk id="3" creationId="{DC5E2B9E-4649-4F7F-9B45-C752713D5308}"/>
          </ac:spMkLst>
        </pc:spChg>
      </pc:sldChg>
      <pc:sldChg chg="modSp">
        <pc:chgData name="Marisa Thierheimer" userId="S::marisa.thierheimer@gilead.com::07952294-6d4f-4d2a-8b81-10a1d66b7196" providerId="AD" clId="Web-{00000000-0000-0000-0000-000000000000}" dt="2021-02-24T00:21:12.627" v="241" actId="20577"/>
        <pc:sldMkLst>
          <pc:docMk/>
          <pc:sldMk cId="1648286856" sldId="262"/>
        </pc:sldMkLst>
        <pc:spChg chg="mod">
          <ac:chgData name="Marisa Thierheimer" userId="S::marisa.thierheimer@gilead.com::07952294-6d4f-4d2a-8b81-10a1d66b7196" providerId="AD" clId="Web-{00000000-0000-0000-0000-000000000000}" dt="2021-02-24T00:21:12.627" v="241" actId="20577"/>
          <ac:spMkLst>
            <pc:docMk/>
            <pc:sldMk cId="1648286856" sldId="262"/>
            <ac:spMk id="2" creationId="{317DDD2E-6FAC-48C9-970E-1304741942E0}"/>
          </ac:spMkLst>
        </pc:spChg>
        <pc:spChg chg="mod">
          <ac:chgData name="Marisa Thierheimer" userId="S::marisa.thierheimer@gilead.com::07952294-6d4f-4d2a-8b81-10a1d66b7196" providerId="AD" clId="Web-{00000000-0000-0000-0000-000000000000}" dt="2021-02-24T00:20:56.939" v="237" actId="20577"/>
          <ac:spMkLst>
            <pc:docMk/>
            <pc:sldMk cId="1648286856" sldId="262"/>
            <ac:spMk id="3" creationId="{4F16D2CF-1C27-45A8-B691-6F828CE70CFD}"/>
          </ac:spMkLst>
        </pc:spChg>
      </pc:sldChg>
      <pc:sldChg chg="modSp">
        <pc:chgData name="Marisa Thierheimer" userId="S::marisa.thierheimer@gilead.com::07952294-6d4f-4d2a-8b81-10a1d66b7196" providerId="AD" clId="Web-{00000000-0000-0000-0000-000000000000}" dt="2021-02-23T00:32:26.019" v="10" actId="20577"/>
        <pc:sldMkLst>
          <pc:docMk/>
          <pc:sldMk cId="2722049542" sldId="297"/>
        </pc:sldMkLst>
        <pc:spChg chg="mod">
          <ac:chgData name="Marisa Thierheimer" userId="S::marisa.thierheimer@gilead.com::07952294-6d4f-4d2a-8b81-10a1d66b7196" providerId="AD" clId="Web-{00000000-0000-0000-0000-000000000000}" dt="2021-02-23T00:32:26.019" v="10" actId="20577"/>
          <ac:spMkLst>
            <pc:docMk/>
            <pc:sldMk cId="2722049542" sldId="297"/>
            <ac:spMk id="3" creationId="{7D0909D4-D760-4AA5-8FC4-EAE5BF1F094E}"/>
          </ac:spMkLst>
        </pc:spChg>
      </pc:sldChg>
      <pc:sldChg chg="del">
        <pc:chgData name="Marisa Thierheimer" userId="S::marisa.thierheimer@gilead.com::07952294-6d4f-4d2a-8b81-10a1d66b7196" providerId="AD" clId="Web-{00000000-0000-0000-0000-000000000000}" dt="2021-02-24T00:41:32.186" v="449"/>
        <pc:sldMkLst>
          <pc:docMk/>
          <pc:sldMk cId="1893823245" sldId="311"/>
        </pc:sldMkLst>
      </pc:sldChg>
      <pc:sldChg chg="del">
        <pc:chgData name="Marisa Thierheimer" userId="S::marisa.thierheimer@gilead.com::07952294-6d4f-4d2a-8b81-10a1d66b7196" providerId="AD" clId="Web-{00000000-0000-0000-0000-000000000000}" dt="2021-02-24T00:43:05.328" v="465"/>
        <pc:sldMkLst>
          <pc:docMk/>
          <pc:sldMk cId="3055162126" sldId="312"/>
        </pc:sldMkLst>
      </pc:sldChg>
      <pc:sldChg chg="modSp">
        <pc:chgData name="Marisa Thierheimer" userId="S::marisa.thierheimer@gilead.com::07952294-6d4f-4d2a-8b81-10a1d66b7196" providerId="AD" clId="Web-{00000000-0000-0000-0000-000000000000}" dt="2021-02-24T00:47:51.897" v="468" actId="20577"/>
        <pc:sldMkLst>
          <pc:docMk/>
          <pc:sldMk cId="1919006483" sldId="318"/>
        </pc:sldMkLst>
        <pc:spChg chg="mod">
          <ac:chgData name="Marisa Thierheimer" userId="S::marisa.thierheimer@gilead.com::07952294-6d4f-4d2a-8b81-10a1d66b7196" providerId="AD" clId="Web-{00000000-0000-0000-0000-000000000000}" dt="2021-02-24T00:47:51.897" v="468" actId="20577"/>
          <ac:spMkLst>
            <pc:docMk/>
            <pc:sldMk cId="1919006483" sldId="318"/>
            <ac:spMk id="3" creationId="{37A33F3E-BD19-4A29-8A37-698D58A181A3}"/>
          </ac:spMkLst>
        </pc:spChg>
      </pc:sldChg>
      <pc:sldChg chg="modSp">
        <pc:chgData name="Marisa Thierheimer" userId="S::marisa.thierheimer@gilead.com::07952294-6d4f-4d2a-8b81-10a1d66b7196" providerId="AD" clId="Web-{00000000-0000-0000-0000-000000000000}" dt="2021-02-23T04:41:53.087" v="216" actId="20577"/>
        <pc:sldMkLst>
          <pc:docMk/>
          <pc:sldMk cId="2617242903" sldId="8324"/>
        </pc:sldMkLst>
        <pc:spChg chg="mod">
          <ac:chgData name="Marisa Thierheimer" userId="S::marisa.thierheimer@gilead.com::07952294-6d4f-4d2a-8b81-10a1d66b7196" providerId="AD" clId="Web-{00000000-0000-0000-0000-000000000000}" dt="2021-02-23T04:41:53.087" v="216" actId="20577"/>
          <ac:spMkLst>
            <pc:docMk/>
            <pc:sldMk cId="2617242903" sldId="8324"/>
            <ac:spMk id="31" creationId="{8284932E-FEE2-AD48-9AE9-C39F6972B2C0}"/>
          </ac:spMkLst>
        </pc:spChg>
      </pc:sldChg>
      <pc:sldChg chg="modSp addCm">
        <pc:chgData name="Marisa Thierheimer" userId="S::marisa.thierheimer@gilead.com::07952294-6d4f-4d2a-8b81-10a1d66b7196" providerId="AD" clId="Web-{00000000-0000-0000-0000-000000000000}" dt="2021-02-26T04:18:55.607" v="475" actId="20577"/>
        <pc:sldMkLst>
          <pc:docMk/>
          <pc:sldMk cId="1555627760" sldId="8325"/>
        </pc:sldMkLst>
        <pc:spChg chg="mod">
          <ac:chgData name="Marisa Thierheimer" userId="S::marisa.thierheimer@gilead.com::07952294-6d4f-4d2a-8b81-10a1d66b7196" providerId="AD" clId="Web-{00000000-0000-0000-0000-000000000000}" dt="2021-02-26T04:18:55.607" v="475" actId="20577"/>
          <ac:spMkLst>
            <pc:docMk/>
            <pc:sldMk cId="1555627760" sldId="8325"/>
            <ac:spMk id="31" creationId="{8284932E-FEE2-AD48-9AE9-C39F6972B2C0}"/>
          </ac:spMkLst>
        </pc:spChg>
      </pc:sldChg>
      <pc:sldChg chg="del">
        <pc:chgData name="Marisa Thierheimer" userId="S::marisa.thierheimer@gilead.com::07952294-6d4f-4d2a-8b81-10a1d66b7196" providerId="AD" clId="Web-{00000000-0000-0000-0000-000000000000}" dt="2021-02-24T00:47:44.897" v="466"/>
        <pc:sldMkLst>
          <pc:docMk/>
          <pc:sldMk cId="550544993" sldId="8326"/>
        </pc:sldMkLst>
      </pc:sldChg>
      <pc:sldChg chg="modSp">
        <pc:chgData name="Marisa Thierheimer" userId="S::marisa.thierheimer@gilead.com::07952294-6d4f-4d2a-8b81-10a1d66b7196" providerId="AD" clId="Web-{00000000-0000-0000-0000-000000000000}" dt="2021-02-23T04:23:58.968" v="123" actId="20577"/>
        <pc:sldMkLst>
          <pc:docMk/>
          <pc:sldMk cId="3164451250" sldId="8327"/>
        </pc:sldMkLst>
        <pc:spChg chg="mod">
          <ac:chgData name="Marisa Thierheimer" userId="S::marisa.thierheimer@gilead.com::07952294-6d4f-4d2a-8b81-10a1d66b7196" providerId="AD" clId="Web-{00000000-0000-0000-0000-000000000000}" dt="2021-02-23T04:23:58.968" v="123" actId="20577"/>
          <ac:spMkLst>
            <pc:docMk/>
            <pc:sldMk cId="3164451250" sldId="8327"/>
            <ac:spMk id="31" creationId="{8284932E-FEE2-AD48-9AE9-C39F6972B2C0}"/>
          </ac:spMkLst>
        </pc:spChg>
      </pc:sldChg>
      <pc:sldChg chg="addSp delSp modSp addCm">
        <pc:chgData name="Marisa Thierheimer" userId="S::marisa.thierheimer@gilead.com::07952294-6d4f-4d2a-8b81-10a1d66b7196" providerId="AD" clId="Web-{00000000-0000-0000-0000-000000000000}" dt="2021-02-24T00:36:48.226" v="383"/>
        <pc:sldMkLst>
          <pc:docMk/>
          <pc:sldMk cId="1379823294" sldId="8328"/>
        </pc:sldMkLst>
        <pc:spChg chg="mod">
          <ac:chgData name="Marisa Thierheimer" userId="S::marisa.thierheimer@gilead.com::07952294-6d4f-4d2a-8b81-10a1d66b7196" providerId="AD" clId="Web-{00000000-0000-0000-0000-000000000000}" dt="2021-02-24T00:31:05.890" v="352" actId="20577"/>
          <ac:spMkLst>
            <pc:docMk/>
            <pc:sldMk cId="1379823294" sldId="8328"/>
            <ac:spMk id="2" creationId="{6AB007F7-61B7-41A2-954B-66BB16962755}"/>
          </ac:spMkLst>
        </pc:spChg>
        <pc:spChg chg="add mod">
          <ac:chgData name="Marisa Thierheimer" userId="S::marisa.thierheimer@gilead.com::07952294-6d4f-4d2a-8b81-10a1d66b7196" providerId="AD" clId="Web-{00000000-0000-0000-0000-000000000000}" dt="2021-02-24T00:33:20.081" v="360" actId="1076"/>
          <ac:spMkLst>
            <pc:docMk/>
            <pc:sldMk cId="1379823294" sldId="8328"/>
            <ac:spMk id="6" creationId="{30459F0F-AC9B-4A62-8F8C-D30D8BE4DA7D}"/>
          </ac:spMkLst>
        </pc:spChg>
        <pc:spChg chg="add mod">
          <ac:chgData name="Marisa Thierheimer" userId="S::marisa.thierheimer@gilead.com::07952294-6d4f-4d2a-8b81-10a1d66b7196" providerId="AD" clId="Web-{00000000-0000-0000-0000-000000000000}" dt="2021-02-24T00:35:42.896" v="375" actId="20577"/>
          <ac:spMkLst>
            <pc:docMk/>
            <pc:sldMk cId="1379823294" sldId="8328"/>
            <ac:spMk id="135" creationId="{8B3316C5-36C4-4446-BEEF-3C49D700D1BE}"/>
          </ac:spMkLst>
        </pc:spChg>
        <pc:picChg chg="add mod">
          <ac:chgData name="Marisa Thierheimer" userId="S::marisa.thierheimer@gilead.com::07952294-6d4f-4d2a-8b81-10a1d66b7196" providerId="AD" clId="Web-{00000000-0000-0000-0000-000000000000}" dt="2021-02-24T00:33:24.956" v="361" actId="1076"/>
          <ac:picMkLst>
            <pc:docMk/>
            <pc:sldMk cId="1379823294" sldId="8328"/>
            <ac:picMk id="3" creationId="{7B8ABFE0-6BB8-4564-8B22-71EAFE685C79}"/>
          </ac:picMkLst>
        </pc:picChg>
        <pc:picChg chg="add mod">
          <ac:chgData name="Marisa Thierheimer" userId="S::marisa.thierheimer@gilead.com::07952294-6d4f-4d2a-8b81-10a1d66b7196" providerId="AD" clId="Web-{00000000-0000-0000-0000-000000000000}" dt="2021-02-23T04:33:48.976" v="136" actId="1076"/>
          <ac:picMkLst>
            <pc:docMk/>
            <pc:sldMk cId="1379823294" sldId="8328"/>
            <ac:picMk id="6" creationId="{911D75B7-B88E-4AA1-9063-4C05472ED787}"/>
          </ac:picMkLst>
        </pc:picChg>
        <pc:picChg chg="add mod">
          <ac:chgData name="Marisa Thierheimer" userId="S::marisa.thierheimer@gilead.com::07952294-6d4f-4d2a-8b81-10a1d66b7196" providerId="AD" clId="Web-{00000000-0000-0000-0000-000000000000}" dt="2021-02-24T00:35:31.849" v="366" actId="1076"/>
          <ac:picMkLst>
            <pc:docMk/>
            <pc:sldMk cId="1379823294" sldId="8328"/>
            <ac:picMk id="61440" creationId="{932758E7-0378-4C68-82EB-4574CC12761D}"/>
          </ac:picMkLst>
        </pc:picChg>
        <pc:picChg chg="add del mod">
          <ac:chgData name="Marisa Thierheimer" userId="S::marisa.thierheimer@gilead.com::07952294-6d4f-4d2a-8b81-10a1d66b7196" providerId="AD" clId="Web-{00000000-0000-0000-0000-000000000000}" dt="2021-02-24T00:36:48.226" v="383"/>
          <ac:picMkLst>
            <pc:docMk/>
            <pc:sldMk cId="1379823294" sldId="8328"/>
            <ac:picMk id="61441" creationId="{454423D0-5F03-44BE-B696-7CD6EF724B8F}"/>
          </ac:picMkLst>
        </pc:picChg>
      </pc:sldChg>
      <pc:sldChg chg="modSp">
        <pc:chgData name="Marisa Thierheimer" userId="S::marisa.thierheimer@gilead.com::07952294-6d4f-4d2a-8b81-10a1d66b7196" providerId="AD" clId="Web-{00000000-0000-0000-0000-000000000000}" dt="2021-02-24T00:30:35.186" v="338" actId="20577"/>
        <pc:sldMkLst>
          <pc:docMk/>
          <pc:sldMk cId="3076141662" sldId="8329"/>
        </pc:sldMkLst>
        <pc:spChg chg="mod">
          <ac:chgData name="Marisa Thierheimer" userId="S::marisa.thierheimer@gilead.com::07952294-6d4f-4d2a-8b81-10a1d66b7196" providerId="AD" clId="Web-{00000000-0000-0000-0000-000000000000}" dt="2021-02-24T00:30:35.186" v="338" actId="20577"/>
          <ac:spMkLst>
            <pc:docMk/>
            <pc:sldMk cId="3076141662" sldId="8329"/>
            <ac:spMk id="3" creationId="{3146D136-069C-440B-8947-29FE96A69725}"/>
          </ac:spMkLst>
        </pc:spChg>
      </pc:sldChg>
      <pc:sldChg chg="addSp modSp">
        <pc:chgData name="Marisa Thierheimer" userId="S::marisa.thierheimer@gilead.com::07952294-6d4f-4d2a-8b81-10a1d66b7196" providerId="AD" clId="Web-{00000000-0000-0000-0000-000000000000}" dt="2021-02-24T00:24:35.178" v="278" actId="20577"/>
        <pc:sldMkLst>
          <pc:docMk/>
          <pc:sldMk cId="308053170" sldId="8332"/>
        </pc:sldMkLst>
        <pc:spChg chg="mod">
          <ac:chgData name="Marisa Thierheimer" userId="S::marisa.thierheimer@gilead.com::07952294-6d4f-4d2a-8b81-10a1d66b7196" providerId="AD" clId="Web-{00000000-0000-0000-0000-000000000000}" dt="2021-02-24T00:24:35.178" v="278" actId="20577"/>
          <ac:spMkLst>
            <pc:docMk/>
            <pc:sldMk cId="308053170" sldId="8332"/>
            <ac:spMk id="13" creationId="{A3E50544-4E42-A74E-B8E1-C9AF9EC0F711}"/>
          </ac:spMkLst>
        </pc:spChg>
        <pc:picChg chg="add mod">
          <ac:chgData name="Marisa Thierheimer" userId="S::marisa.thierheimer@gilead.com::07952294-6d4f-4d2a-8b81-10a1d66b7196" providerId="AD" clId="Web-{00000000-0000-0000-0000-000000000000}" dt="2021-02-23T04:21:56.382" v="105" actId="1076"/>
          <ac:picMkLst>
            <pc:docMk/>
            <pc:sldMk cId="308053170" sldId="8332"/>
            <ac:picMk id="3" creationId="{7CD66484-EF36-4A54-B9FC-39A02420D618}"/>
          </ac:picMkLst>
        </pc:picChg>
        <pc:picChg chg="mod">
          <ac:chgData name="Marisa Thierheimer" userId="S::marisa.thierheimer@gilead.com::07952294-6d4f-4d2a-8b81-10a1d66b7196" providerId="AD" clId="Web-{00000000-0000-0000-0000-000000000000}" dt="2021-02-23T04:21:50.382" v="103" actId="1076"/>
          <ac:picMkLst>
            <pc:docMk/>
            <pc:sldMk cId="308053170" sldId="8332"/>
            <ac:picMk id="9" creationId="{FB2ED9AB-F539-492D-882C-22882BE6E470}"/>
          </ac:picMkLst>
        </pc:picChg>
      </pc:sldChg>
      <pc:sldChg chg="addSp delSp modSp new del">
        <pc:chgData name="Marisa Thierheimer" userId="S::marisa.thierheimer@gilead.com::07952294-6d4f-4d2a-8b81-10a1d66b7196" providerId="AD" clId="Web-{00000000-0000-0000-0000-000000000000}" dt="2021-02-23T04:33:50.680" v="137"/>
        <pc:sldMkLst>
          <pc:docMk/>
          <pc:sldMk cId="408837598" sldId="8333"/>
        </pc:sldMkLst>
        <pc:spChg chg="del">
          <ac:chgData name="Marisa Thierheimer" userId="S::marisa.thierheimer@gilead.com::07952294-6d4f-4d2a-8b81-10a1d66b7196" providerId="AD" clId="Web-{00000000-0000-0000-0000-000000000000}" dt="2021-02-23T04:30:19.041" v="125"/>
          <ac:spMkLst>
            <pc:docMk/>
            <pc:sldMk cId="408837598" sldId="8333"/>
            <ac:spMk id="3" creationId="{D6159E90-702B-436B-8601-55D8F574AAEC}"/>
          </ac:spMkLst>
        </pc:spChg>
        <pc:spChg chg="add del mod">
          <ac:chgData name="Marisa Thierheimer" userId="S::marisa.thierheimer@gilead.com::07952294-6d4f-4d2a-8b81-10a1d66b7196" providerId="AD" clId="Web-{00000000-0000-0000-0000-000000000000}" dt="2021-02-23T04:30:52.527" v="130"/>
          <ac:spMkLst>
            <pc:docMk/>
            <pc:sldMk cId="408837598" sldId="8333"/>
            <ac:spMk id="7" creationId="{5B5EC468-F088-45E9-A9DE-492C5DA812E8}"/>
          </ac:spMkLst>
        </pc:spChg>
        <pc:spChg chg="add del mod">
          <ac:chgData name="Marisa Thierheimer" userId="S::marisa.thierheimer@gilead.com::07952294-6d4f-4d2a-8b81-10a1d66b7196" providerId="AD" clId="Web-{00000000-0000-0000-0000-000000000000}" dt="2021-02-23T04:31:30.983" v="134"/>
          <ac:spMkLst>
            <pc:docMk/>
            <pc:sldMk cId="408837598" sldId="8333"/>
            <ac:spMk id="10" creationId="{D343FEFE-DF6F-4E79-B513-2087206EE733}"/>
          </ac:spMkLst>
        </pc:spChg>
        <pc:picChg chg="add del mod ord">
          <ac:chgData name="Marisa Thierheimer" userId="S::marisa.thierheimer@gilead.com::07952294-6d4f-4d2a-8b81-10a1d66b7196" providerId="AD" clId="Web-{00000000-0000-0000-0000-000000000000}" dt="2021-02-23T04:30:49.058" v="129"/>
          <ac:picMkLst>
            <pc:docMk/>
            <pc:sldMk cId="408837598" sldId="8333"/>
            <ac:picMk id="5" creationId="{61CAE268-A31E-45C8-8BC7-CEC2B959A210}"/>
          </ac:picMkLst>
        </pc:picChg>
        <pc:picChg chg="add del mod ord">
          <ac:chgData name="Marisa Thierheimer" userId="S::marisa.thierheimer@gilead.com::07952294-6d4f-4d2a-8b81-10a1d66b7196" providerId="AD" clId="Web-{00000000-0000-0000-0000-000000000000}" dt="2021-02-23T04:31:29.326" v="133"/>
          <ac:picMkLst>
            <pc:docMk/>
            <pc:sldMk cId="408837598" sldId="8333"/>
            <ac:picMk id="8" creationId="{312D2324-010E-4915-9096-01E2AFFCE87C}"/>
          </ac:picMkLst>
        </pc:picChg>
        <pc:picChg chg="add mod ord">
          <ac:chgData name="Marisa Thierheimer" userId="S::marisa.thierheimer@gilead.com::07952294-6d4f-4d2a-8b81-10a1d66b7196" providerId="AD" clId="Web-{00000000-0000-0000-0000-000000000000}" dt="2021-02-23T04:31:30.983" v="134"/>
          <ac:picMkLst>
            <pc:docMk/>
            <pc:sldMk cId="408837598" sldId="8333"/>
            <ac:picMk id="11" creationId="{2FABD459-3404-421C-A013-E5BDDA186B76}"/>
          </ac:picMkLst>
        </pc:picChg>
      </pc:sldChg>
      <pc:sldChg chg="modSp">
        <pc:chgData name="Marisa Thierheimer" userId="S::marisa.thierheimer@gilead.com::07952294-6d4f-4d2a-8b81-10a1d66b7196" providerId="AD" clId="Web-{00000000-0000-0000-0000-000000000000}" dt="2021-02-24T00:27:55.620" v="327" actId="20577"/>
        <pc:sldMkLst>
          <pc:docMk/>
          <pc:sldMk cId="3087477339" sldId="8333"/>
        </pc:sldMkLst>
        <pc:spChg chg="mod">
          <ac:chgData name="Marisa Thierheimer" userId="S::marisa.thierheimer@gilead.com::07952294-6d4f-4d2a-8b81-10a1d66b7196" providerId="AD" clId="Web-{00000000-0000-0000-0000-000000000000}" dt="2021-02-24T00:27:55.620" v="327" actId="20577"/>
          <ac:spMkLst>
            <pc:docMk/>
            <pc:sldMk cId="3087477339" sldId="8333"/>
            <ac:spMk id="31" creationId="{8284932E-FEE2-AD48-9AE9-C39F6972B2C0}"/>
          </ac:spMkLst>
        </pc:spChg>
      </pc:sldChg>
      <pc:sldChg chg="modSp">
        <pc:chgData name="Marisa Thierheimer" userId="S::marisa.thierheimer@gilead.com::07952294-6d4f-4d2a-8b81-10a1d66b7196" providerId="AD" clId="Web-{00000000-0000-0000-0000-000000000000}" dt="2021-02-24T00:22:41.051" v="248" actId="20577"/>
        <pc:sldMkLst>
          <pc:docMk/>
          <pc:sldMk cId="2035203840" sldId="8334"/>
        </pc:sldMkLst>
        <pc:spChg chg="mod">
          <ac:chgData name="Marisa Thierheimer" userId="S::marisa.thierheimer@gilead.com::07952294-6d4f-4d2a-8b81-10a1d66b7196" providerId="AD" clId="Web-{00000000-0000-0000-0000-000000000000}" dt="2021-02-24T00:22:41.051" v="248" actId="20577"/>
          <ac:spMkLst>
            <pc:docMk/>
            <pc:sldMk cId="2035203840" sldId="8334"/>
            <ac:spMk id="2" creationId="{1C4BF5E6-84D0-4D42-A98D-67E529ED1EC2}"/>
          </ac:spMkLst>
        </pc:spChg>
      </pc:sldChg>
      <pc:sldChg chg="modSp add replId">
        <pc:chgData name="Marisa Thierheimer" userId="S::marisa.thierheimer@gilead.com::07952294-6d4f-4d2a-8b81-10a1d66b7196" providerId="AD" clId="Web-{00000000-0000-0000-0000-000000000000}" dt="2021-02-24T00:41:29.576" v="448" actId="20577"/>
        <pc:sldMkLst>
          <pc:docMk/>
          <pc:sldMk cId="359428545" sldId="8336"/>
        </pc:sldMkLst>
        <pc:spChg chg="mod">
          <ac:chgData name="Marisa Thierheimer" userId="S::marisa.thierheimer@gilead.com::07952294-6d4f-4d2a-8b81-10a1d66b7196" providerId="AD" clId="Web-{00000000-0000-0000-0000-000000000000}" dt="2021-02-24T00:41:29.576" v="448" actId="20577"/>
          <ac:spMkLst>
            <pc:docMk/>
            <pc:sldMk cId="359428545" sldId="8336"/>
            <ac:spMk id="31" creationId="{8284932E-FEE2-AD48-9AE9-C39F6972B2C0}"/>
          </ac:spMkLst>
        </pc:spChg>
        <pc:spChg chg="mod">
          <ac:chgData name="Marisa Thierheimer" userId="S::marisa.thierheimer@gilead.com::07952294-6d4f-4d2a-8b81-10a1d66b7196" providerId="AD" clId="Web-{00000000-0000-0000-0000-000000000000}" dt="2021-02-24T00:39:08.042" v="402" actId="20577"/>
          <ac:spMkLst>
            <pc:docMk/>
            <pc:sldMk cId="359428545" sldId="8336"/>
            <ac:spMk id="40" creationId="{8A64CF47-DCFD-5E4F-9419-0C92810259DF}"/>
          </ac:spMkLst>
        </pc:spChg>
      </pc:sldChg>
      <pc:sldChg chg="modSp add replId">
        <pc:chgData name="Marisa Thierheimer" userId="S::marisa.thierheimer@gilead.com::07952294-6d4f-4d2a-8b81-10a1d66b7196" providerId="AD" clId="Web-{00000000-0000-0000-0000-000000000000}" dt="2021-02-24T00:42:52.109" v="464" actId="20577"/>
        <pc:sldMkLst>
          <pc:docMk/>
          <pc:sldMk cId="2991100086" sldId="8337"/>
        </pc:sldMkLst>
        <pc:spChg chg="mod">
          <ac:chgData name="Marisa Thierheimer" userId="S::marisa.thierheimer@gilead.com::07952294-6d4f-4d2a-8b81-10a1d66b7196" providerId="AD" clId="Web-{00000000-0000-0000-0000-000000000000}" dt="2021-02-24T00:42:52.109" v="464" actId="20577"/>
          <ac:spMkLst>
            <pc:docMk/>
            <pc:sldMk cId="2991100086" sldId="8337"/>
            <ac:spMk id="31" creationId="{8284932E-FEE2-AD48-9AE9-C39F6972B2C0}"/>
          </ac:spMkLst>
        </pc:spChg>
        <pc:spChg chg="mod">
          <ac:chgData name="Marisa Thierheimer" userId="S::marisa.thierheimer@gilead.com::07952294-6d4f-4d2a-8b81-10a1d66b7196" providerId="AD" clId="Web-{00000000-0000-0000-0000-000000000000}" dt="2021-02-24T00:42:13.843" v="452" actId="20577"/>
          <ac:spMkLst>
            <pc:docMk/>
            <pc:sldMk cId="2991100086" sldId="8337"/>
            <ac:spMk id="40" creationId="{8A64CF47-DCFD-5E4F-9419-0C92810259DF}"/>
          </ac:spMkLst>
        </pc:spChg>
      </pc:sldChg>
    </pc:docChg>
  </pc:docChgLst>
  <pc:docChgLst>
    <pc:chgData name="Marisa Thierheimer" userId="S::marisa.thierheimer@gilead.com::07952294-6d4f-4d2a-8b81-10a1d66b7196" providerId="AD" clId="Web-{9547AE9F-F00E-B000-8067-E196EBB2B2B2}"/>
    <pc:docChg chg="delSld modSld">
      <pc:chgData name="Marisa Thierheimer" userId="S::marisa.thierheimer@gilead.com::07952294-6d4f-4d2a-8b81-10a1d66b7196" providerId="AD" clId="Web-{9547AE9F-F00E-B000-8067-E196EBB2B2B2}" dt="2021-02-24T04:33:39.525" v="3"/>
      <pc:docMkLst>
        <pc:docMk/>
      </pc:docMkLst>
      <pc:sldChg chg="del">
        <pc:chgData name="Marisa Thierheimer" userId="S::marisa.thierheimer@gilead.com::07952294-6d4f-4d2a-8b81-10a1d66b7196" providerId="AD" clId="Web-{9547AE9F-F00E-B000-8067-E196EBB2B2B2}" dt="2021-02-24T04:32:24.068" v="2"/>
        <pc:sldMkLst>
          <pc:docMk/>
          <pc:sldMk cId="1648286856" sldId="262"/>
        </pc:sldMkLst>
      </pc:sldChg>
      <pc:sldChg chg="modSp addCm">
        <pc:chgData name="Marisa Thierheimer" userId="S::marisa.thierheimer@gilead.com::07952294-6d4f-4d2a-8b81-10a1d66b7196" providerId="AD" clId="Web-{9547AE9F-F00E-B000-8067-E196EBB2B2B2}" dt="2021-02-24T04:33:39.525" v="3"/>
        <pc:sldMkLst>
          <pc:docMk/>
          <pc:sldMk cId="2537106749" sldId="8338"/>
        </pc:sldMkLst>
        <pc:spChg chg="mod">
          <ac:chgData name="Marisa Thierheimer" userId="S::marisa.thierheimer@gilead.com::07952294-6d4f-4d2a-8b81-10a1d66b7196" providerId="AD" clId="Web-{9547AE9F-F00E-B000-8067-E196EBB2B2B2}" dt="2021-02-24T04:33:39.525" v="3"/>
          <ac:spMkLst>
            <pc:docMk/>
            <pc:sldMk cId="2537106749" sldId="8338"/>
            <ac:spMk id="2" creationId="{317DDD2E-6FAC-48C9-970E-1304741942E0}"/>
          </ac:spMkLst>
        </pc:spChg>
      </pc:sldChg>
    </pc:docChg>
  </pc:docChgLst>
  <pc:docChgLst>
    <pc:chgData name="Marisa Thierheimer" userId="S::marisa.thierheimer@gilead.com::07952294-6d4f-4d2a-8b81-10a1d66b7196" providerId="AD" clId="Web-{16CC3DBD-E933-2066-C7EF-B08F138B3218}"/>
    <pc:docChg chg="modSld">
      <pc:chgData name="Marisa Thierheimer" userId="S::marisa.thierheimer@gilead.com::07952294-6d4f-4d2a-8b81-10a1d66b7196" providerId="AD" clId="Web-{16CC3DBD-E933-2066-C7EF-B08F138B3218}" dt="2021-02-24T19:51:10.560" v="75" actId="20577"/>
      <pc:docMkLst>
        <pc:docMk/>
      </pc:docMkLst>
      <pc:sldChg chg="modSp">
        <pc:chgData name="Marisa Thierheimer" userId="S::marisa.thierheimer@gilead.com::07952294-6d4f-4d2a-8b81-10a1d66b7196" providerId="AD" clId="Web-{16CC3DBD-E933-2066-C7EF-B08F138B3218}" dt="2021-02-24T19:51:10.560" v="75" actId="20577"/>
        <pc:sldMkLst>
          <pc:docMk/>
          <pc:sldMk cId="1919006483" sldId="318"/>
        </pc:sldMkLst>
        <pc:spChg chg="mod">
          <ac:chgData name="Marisa Thierheimer" userId="S::marisa.thierheimer@gilead.com::07952294-6d4f-4d2a-8b81-10a1d66b7196" providerId="AD" clId="Web-{16CC3DBD-E933-2066-C7EF-B08F138B3218}" dt="2021-02-24T19:51:10.560" v="75" actId="20577"/>
          <ac:spMkLst>
            <pc:docMk/>
            <pc:sldMk cId="1919006483" sldId="318"/>
            <ac:spMk id="3" creationId="{37A33F3E-BD19-4A29-8A37-698D58A181A3}"/>
          </ac:spMkLst>
        </pc:spChg>
      </pc:sldChg>
      <pc:sldChg chg="modSp">
        <pc:chgData name="Marisa Thierheimer" userId="S::marisa.thierheimer@gilead.com::07952294-6d4f-4d2a-8b81-10a1d66b7196" providerId="AD" clId="Web-{16CC3DBD-E933-2066-C7EF-B08F138B3218}" dt="2021-02-24T19:47:16.292" v="0" actId="14100"/>
        <pc:sldMkLst>
          <pc:docMk/>
          <pc:sldMk cId="1555627760" sldId="8325"/>
        </pc:sldMkLst>
        <pc:picChg chg="mod">
          <ac:chgData name="Marisa Thierheimer" userId="S::marisa.thierheimer@gilead.com::07952294-6d4f-4d2a-8b81-10a1d66b7196" providerId="AD" clId="Web-{16CC3DBD-E933-2066-C7EF-B08F138B3218}" dt="2021-02-24T19:47:16.292" v="0" actId="14100"/>
          <ac:picMkLst>
            <pc:docMk/>
            <pc:sldMk cId="1555627760" sldId="8325"/>
            <ac:picMk id="64514" creationId="{8D08F62A-E13C-4B6F-A096-42DEFACE905B}"/>
          </ac:picMkLst>
        </pc:picChg>
      </pc:sldChg>
      <pc:sldChg chg="modSp">
        <pc:chgData name="Marisa Thierheimer" userId="S::marisa.thierheimer@gilead.com::07952294-6d4f-4d2a-8b81-10a1d66b7196" providerId="AD" clId="Web-{16CC3DBD-E933-2066-C7EF-B08F138B3218}" dt="2021-02-24T19:47:57.730" v="1" actId="14100"/>
        <pc:sldMkLst>
          <pc:docMk/>
          <pc:sldMk cId="359428545" sldId="8336"/>
        </pc:sldMkLst>
        <pc:picChg chg="mod">
          <ac:chgData name="Marisa Thierheimer" userId="S::marisa.thierheimer@gilead.com::07952294-6d4f-4d2a-8b81-10a1d66b7196" providerId="AD" clId="Web-{16CC3DBD-E933-2066-C7EF-B08F138B3218}" dt="2021-02-24T19:47:57.730" v="1" actId="14100"/>
          <ac:picMkLst>
            <pc:docMk/>
            <pc:sldMk cId="359428545" sldId="8336"/>
            <ac:picMk id="61442" creationId="{54761B7F-C222-48F0-B295-FFFFF945943F}"/>
          </ac:picMkLst>
        </pc:picChg>
      </pc:sldChg>
      <pc:sldChg chg="modSp">
        <pc:chgData name="Marisa Thierheimer" userId="S::marisa.thierheimer@gilead.com::07952294-6d4f-4d2a-8b81-10a1d66b7196" providerId="AD" clId="Web-{16CC3DBD-E933-2066-C7EF-B08F138B3218}" dt="2021-02-24T19:50:16.341" v="58" actId="20577"/>
        <pc:sldMkLst>
          <pc:docMk/>
          <pc:sldMk cId="2537106749" sldId="8338"/>
        </pc:sldMkLst>
        <pc:spChg chg="mod">
          <ac:chgData name="Marisa Thierheimer" userId="S::marisa.thierheimer@gilead.com::07952294-6d4f-4d2a-8b81-10a1d66b7196" providerId="AD" clId="Web-{16CC3DBD-E933-2066-C7EF-B08F138B3218}" dt="2021-02-24T19:50:16.341" v="58" actId="20577"/>
          <ac:spMkLst>
            <pc:docMk/>
            <pc:sldMk cId="2537106749" sldId="8338"/>
            <ac:spMk id="3" creationId="{4F16D2CF-1C27-45A8-B691-6F828CE70CFD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2" Type="http://schemas.openxmlformats.org/officeDocument/2006/relationships/image" Target="../media/image45.svg"/><Relationship Id="rId1" Type="http://schemas.openxmlformats.org/officeDocument/2006/relationships/image" Target="../media/image44.png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2" Type="http://schemas.openxmlformats.org/officeDocument/2006/relationships/image" Target="../media/image45.svg"/><Relationship Id="rId1" Type="http://schemas.openxmlformats.org/officeDocument/2006/relationships/image" Target="../media/image44.png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C7B640-0A64-4E62-9E35-AF2305B06E71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EC0A445-1052-4836-B178-5C5E3AB67F0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Selection</a:t>
          </a:r>
          <a:endParaRPr lang="en-US"/>
        </a:p>
      </dgm:t>
    </dgm:pt>
    <dgm:pt modelId="{6234A8DA-17A9-4479-9A23-32BFC82ADA61}" type="parTrans" cxnId="{2EE2EAE4-4729-4474-8307-E3989F51EB1E}">
      <dgm:prSet/>
      <dgm:spPr/>
      <dgm:t>
        <a:bodyPr/>
        <a:lstStyle/>
        <a:p>
          <a:endParaRPr lang="en-US"/>
        </a:p>
      </dgm:t>
    </dgm:pt>
    <dgm:pt modelId="{D2B891E0-8FEA-4DF3-9A33-3FD8817930FC}" type="sibTrans" cxnId="{2EE2EAE4-4729-4474-8307-E3989F51EB1E}">
      <dgm:prSet/>
      <dgm:spPr/>
      <dgm:t>
        <a:bodyPr/>
        <a:lstStyle/>
        <a:p>
          <a:endParaRPr lang="en-US"/>
        </a:p>
      </dgm:t>
    </dgm:pt>
    <dgm:pt modelId="{0BA8368A-AC5E-4BFB-A4B7-1CF04AADAFE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Characterization</a:t>
          </a:r>
          <a:endParaRPr lang="en-US"/>
        </a:p>
      </dgm:t>
    </dgm:pt>
    <dgm:pt modelId="{E9B98AF7-4D8D-45DB-B215-120C239A689E}" type="parTrans" cxnId="{FD0E40A1-C22F-4EF6-9307-31A4D6539909}">
      <dgm:prSet/>
      <dgm:spPr/>
      <dgm:t>
        <a:bodyPr/>
        <a:lstStyle/>
        <a:p>
          <a:endParaRPr lang="en-US"/>
        </a:p>
      </dgm:t>
    </dgm:pt>
    <dgm:pt modelId="{E29B99C0-EB3B-472A-B254-5D87AD97BCBA}" type="sibTrans" cxnId="{FD0E40A1-C22F-4EF6-9307-31A4D6539909}">
      <dgm:prSet/>
      <dgm:spPr/>
      <dgm:t>
        <a:bodyPr/>
        <a:lstStyle/>
        <a:p>
          <a:endParaRPr lang="en-US"/>
        </a:p>
      </dgm:t>
    </dgm:pt>
    <dgm:pt modelId="{DF42D8AE-6145-47D9-BC1A-5A1A1F55142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Formulation and Manufacturing Process Development</a:t>
          </a:r>
          <a:endParaRPr lang="en-US"/>
        </a:p>
      </dgm:t>
    </dgm:pt>
    <dgm:pt modelId="{D11BE35C-5D43-4341-943D-65C459176457}" type="parTrans" cxnId="{6B52BDC5-75D4-454A-80C1-00211A476A9E}">
      <dgm:prSet/>
      <dgm:spPr/>
      <dgm:t>
        <a:bodyPr/>
        <a:lstStyle/>
        <a:p>
          <a:endParaRPr lang="en-US"/>
        </a:p>
      </dgm:t>
    </dgm:pt>
    <dgm:pt modelId="{94871B1F-0166-429A-8FF9-D5359B361986}" type="sibTrans" cxnId="{6B52BDC5-75D4-454A-80C1-00211A476A9E}">
      <dgm:prSet/>
      <dgm:spPr/>
      <dgm:t>
        <a:bodyPr/>
        <a:lstStyle/>
        <a:p>
          <a:endParaRPr lang="en-US"/>
        </a:p>
      </dgm:t>
    </dgm:pt>
    <dgm:pt modelId="{D53E6531-3AA1-4F32-8BAD-44FE591ECC3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Clinical Support</a:t>
          </a:r>
          <a:endParaRPr lang="en-US"/>
        </a:p>
      </dgm:t>
    </dgm:pt>
    <dgm:pt modelId="{E9195019-F2B5-43AD-B733-FAC61B6E012C}" type="parTrans" cxnId="{510EDE0F-54E8-4E13-8013-CDA5E7016698}">
      <dgm:prSet/>
      <dgm:spPr/>
      <dgm:t>
        <a:bodyPr/>
        <a:lstStyle/>
        <a:p>
          <a:endParaRPr lang="en-US"/>
        </a:p>
      </dgm:t>
    </dgm:pt>
    <dgm:pt modelId="{09CC9E04-1CDD-4DEA-83C1-2A1CF413228A}" type="sibTrans" cxnId="{510EDE0F-54E8-4E13-8013-CDA5E7016698}">
      <dgm:prSet/>
      <dgm:spPr/>
      <dgm:t>
        <a:bodyPr/>
        <a:lstStyle/>
        <a:p>
          <a:endParaRPr lang="en-US"/>
        </a:p>
      </dgm:t>
    </dgm:pt>
    <dgm:pt modelId="{A31FBD7E-5D8F-4E41-B5AB-D55A03ACC31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Commercial Support</a:t>
          </a:r>
          <a:endParaRPr lang="en-US"/>
        </a:p>
      </dgm:t>
    </dgm:pt>
    <dgm:pt modelId="{27E90B2D-7F61-486A-969E-897117FCD719}" type="parTrans" cxnId="{369635B6-85D9-4FE2-A9D1-6C3D79515969}">
      <dgm:prSet/>
      <dgm:spPr/>
      <dgm:t>
        <a:bodyPr/>
        <a:lstStyle/>
        <a:p>
          <a:endParaRPr lang="en-US"/>
        </a:p>
      </dgm:t>
    </dgm:pt>
    <dgm:pt modelId="{85208649-A77A-4FE0-9739-CAC65993F796}" type="sibTrans" cxnId="{369635B6-85D9-4FE2-A9D1-6C3D79515969}">
      <dgm:prSet/>
      <dgm:spPr/>
      <dgm:t>
        <a:bodyPr/>
        <a:lstStyle/>
        <a:p>
          <a:endParaRPr lang="en-US"/>
        </a:p>
      </dgm:t>
    </dgm:pt>
    <dgm:pt modelId="{FD1E3422-AC8F-4845-9562-97577E97914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0" i="0" baseline="0"/>
            <a:t>Documentation</a:t>
          </a:r>
          <a:endParaRPr lang="en-US"/>
        </a:p>
      </dgm:t>
    </dgm:pt>
    <dgm:pt modelId="{302E224C-4C2B-412D-B572-FA34E959B95D}" type="parTrans" cxnId="{49FC9312-B257-4DAC-AC67-F6208D1A91AF}">
      <dgm:prSet/>
      <dgm:spPr/>
      <dgm:t>
        <a:bodyPr/>
        <a:lstStyle/>
        <a:p>
          <a:endParaRPr lang="en-US"/>
        </a:p>
      </dgm:t>
    </dgm:pt>
    <dgm:pt modelId="{35287976-B549-4F0A-9018-D04B41F13881}" type="sibTrans" cxnId="{49FC9312-B257-4DAC-AC67-F6208D1A91AF}">
      <dgm:prSet/>
      <dgm:spPr/>
      <dgm:t>
        <a:bodyPr/>
        <a:lstStyle/>
        <a:p>
          <a:endParaRPr lang="en-US"/>
        </a:p>
      </dgm:t>
    </dgm:pt>
    <dgm:pt modelId="{3097694B-FC14-4704-947F-83BB3EEBA238}" type="pres">
      <dgm:prSet presAssocID="{4AC7B640-0A64-4E62-9E35-AF2305B06E71}" presName="root" presStyleCnt="0">
        <dgm:presLayoutVars>
          <dgm:dir/>
          <dgm:resizeHandles val="exact"/>
        </dgm:presLayoutVars>
      </dgm:prSet>
      <dgm:spPr/>
    </dgm:pt>
    <dgm:pt modelId="{9E1E780D-B74A-40C4-B412-B6288D776993}" type="pres">
      <dgm:prSet presAssocID="{4EC0A445-1052-4836-B178-5C5E3AB67F08}" presName="compNode" presStyleCnt="0"/>
      <dgm:spPr/>
    </dgm:pt>
    <dgm:pt modelId="{3B186A08-2CA6-4D1D-A72B-C9BF1987B57B}" type="pres">
      <dgm:prSet presAssocID="{4EC0A445-1052-4836-B178-5C5E3AB67F08}" presName="bgRect" presStyleLbl="bgShp" presStyleIdx="0" presStyleCnt="6"/>
      <dgm:spPr/>
    </dgm:pt>
    <dgm:pt modelId="{F643ECF0-4CBF-43EB-84BF-1C1B97138BB2}" type="pres">
      <dgm:prSet presAssocID="{4EC0A445-1052-4836-B178-5C5E3AB67F08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B0F7F71B-D9F0-4182-8221-A5CABA4CB422}" type="pres">
      <dgm:prSet presAssocID="{4EC0A445-1052-4836-B178-5C5E3AB67F08}" presName="spaceRect" presStyleCnt="0"/>
      <dgm:spPr/>
    </dgm:pt>
    <dgm:pt modelId="{FB27AB40-3A3B-496C-A70B-658632EB85E8}" type="pres">
      <dgm:prSet presAssocID="{4EC0A445-1052-4836-B178-5C5E3AB67F08}" presName="parTx" presStyleLbl="revTx" presStyleIdx="0" presStyleCnt="6">
        <dgm:presLayoutVars>
          <dgm:chMax val="0"/>
          <dgm:chPref val="0"/>
        </dgm:presLayoutVars>
      </dgm:prSet>
      <dgm:spPr/>
    </dgm:pt>
    <dgm:pt modelId="{BE05386B-EA4F-41EE-884E-37374DB7819B}" type="pres">
      <dgm:prSet presAssocID="{D2B891E0-8FEA-4DF3-9A33-3FD8817930FC}" presName="sibTrans" presStyleCnt="0"/>
      <dgm:spPr/>
    </dgm:pt>
    <dgm:pt modelId="{EFFDA146-17D7-4D25-B2AF-C331116CEFDE}" type="pres">
      <dgm:prSet presAssocID="{0BA8368A-AC5E-4BFB-A4B7-1CF04AADAFE4}" presName="compNode" presStyleCnt="0"/>
      <dgm:spPr/>
    </dgm:pt>
    <dgm:pt modelId="{93344577-7138-416E-92A6-EA0B0A430A3E}" type="pres">
      <dgm:prSet presAssocID="{0BA8368A-AC5E-4BFB-A4B7-1CF04AADAFE4}" presName="bgRect" presStyleLbl="bgShp" presStyleIdx="1" presStyleCnt="6"/>
      <dgm:spPr/>
    </dgm:pt>
    <dgm:pt modelId="{226AE7E4-2EA5-4BAD-B0F9-41411DFD67EB}" type="pres">
      <dgm:prSet presAssocID="{0BA8368A-AC5E-4BFB-A4B7-1CF04AADAFE4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066C5609-1A5A-4FC1-A67B-FAC4CFF6A4C9}" type="pres">
      <dgm:prSet presAssocID="{0BA8368A-AC5E-4BFB-A4B7-1CF04AADAFE4}" presName="spaceRect" presStyleCnt="0"/>
      <dgm:spPr/>
    </dgm:pt>
    <dgm:pt modelId="{8918C6D7-746D-441D-BC4A-1193DF36C334}" type="pres">
      <dgm:prSet presAssocID="{0BA8368A-AC5E-4BFB-A4B7-1CF04AADAFE4}" presName="parTx" presStyleLbl="revTx" presStyleIdx="1" presStyleCnt="6">
        <dgm:presLayoutVars>
          <dgm:chMax val="0"/>
          <dgm:chPref val="0"/>
        </dgm:presLayoutVars>
      </dgm:prSet>
      <dgm:spPr/>
    </dgm:pt>
    <dgm:pt modelId="{3F8B9084-7462-4592-8036-99BBD521ECFE}" type="pres">
      <dgm:prSet presAssocID="{E29B99C0-EB3B-472A-B254-5D87AD97BCBA}" presName="sibTrans" presStyleCnt="0"/>
      <dgm:spPr/>
    </dgm:pt>
    <dgm:pt modelId="{3FDD3F4E-DCA8-4E98-95D1-CC08C503D148}" type="pres">
      <dgm:prSet presAssocID="{DF42D8AE-6145-47D9-BC1A-5A1A1F551424}" presName="compNode" presStyleCnt="0"/>
      <dgm:spPr/>
    </dgm:pt>
    <dgm:pt modelId="{A871B8CC-2CE4-4ABC-8C1B-3B63D3BD6231}" type="pres">
      <dgm:prSet presAssocID="{DF42D8AE-6145-47D9-BC1A-5A1A1F551424}" presName="bgRect" presStyleLbl="bgShp" presStyleIdx="2" presStyleCnt="6"/>
      <dgm:spPr/>
    </dgm:pt>
    <dgm:pt modelId="{2B4E5F00-B0A9-4A0C-BBF4-E11F53D28178}" type="pres">
      <dgm:prSet presAssocID="{DF42D8AE-6145-47D9-BC1A-5A1A1F551424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actory"/>
        </a:ext>
      </dgm:extLst>
    </dgm:pt>
    <dgm:pt modelId="{54E2A211-70DC-48E5-B10B-269FB29E1129}" type="pres">
      <dgm:prSet presAssocID="{DF42D8AE-6145-47D9-BC1A-5A1A1F551424}" presName="spaceRect" presStyleCnt="0"/>
      <dgm:spPr/>
    </dgm:pt>
    <dgm:pt modelId="{F5286D1F-DAF1-42AD-9D53-DA9D2A9218B5}" type="pres">
      <dgm:prSet presAssocID="{DF42D8AE-6145-47D9-BC1A-5A1A1F551424}" presName="parTx" presStyleLbl="revTx" presStyleIdx="2" presStyleCnt="6">
        <dgm:presLayoutVars>
          <dgm:chMax val="0"/>
          <dgm:chPref val="0"/>
        </dgm:presLayoutVars>
      </dgm:prSet>
      <dgm:spPr/>
    </dgm:pt>
    <dgm:pt modelId="{BD8DA398-1B35-4E13-A886-D1B5C2659C87}" type="pres">
      <dgm:prSet presAssocID="{94871B1F-0166-429A-8FF9-D5359B361986}" presName="sibTrans" presStyleCnt="0"/>
      <dgm:spPr/>
    </dgm:pt>
    <dgm:pt modelId="{B76F2797-5E43-4F3B-9B67-0F031B818E1A}" type="pres">
      <dgm:prSet presAssocID="{D53E6531-3AA1-4F32-8BAD-44FE591ECC33}" presName="compNode" presStyleCnt="0"/>
      <dgm:spPr/>
    </dgm:pt>
    <dgm:pt modelId="{B01E34F4-2C27-4F88-BC5D-053A219842D8}" type="pres">
      <dgm:prSet presAssocID="{D53E6531-3AA1-4F32-8BAD-44FE591ECC33}" presName="bgRect" presStyleLbl="bgShp" presStyleIdx="3" presStyleCnt="6"/>
      <dgm:spPr/>
    </dgm:pt>
    <dgm:pt modelId="{345B167F-3926-4034-93CC-21EA1E7CA0A0}" type="pres">
      <dgm:prSet presAssocID="{D53E6531-3AA1-4F32-8BAD-44FE591ECC33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82F85FD1-BDCF-4A8D-B1F2-F575732E56D9}" type="pres">
      <dgm:prSet presAssocID="{D53E6531-3AA1-4F32-8BAD-44FE591ECC33}" presName="spaceRect" presStyleCnt="0"/>
      <dgm:spPr/>
    </dgm:pt>
    <dgm:pt modelId="{CE71E6B5-D5D7-4CD4-8F84-052EDD9071F2}" type="pres">
      <dgm:prSet presAssocID="{D53E6531-3AA1-4F32-8BAD-44FE591ECC33}" presName="parTx" presStyleLbl="revTx" presStyleIdx="3" presStyleCnt="6">
        <dgm:presLayoutVars>
          <dgm:chMax val="0"/>
          <dgm:chPref val="0"/>
        </dgm:presLayoutVars>
      </dgm:prSet>
      <dgm:spPr/>
    </dgm:pt>
    <dgm:pt modelId="{1198BB97-6435-47F1-93AD-1D670ABC3A17}" type="pres">
      <dgm:prSet presAssocID="{09CC9E04-1CDD-4DEA-83C1-2A1CF413228A}" presName="sibTrans" presStyleCnt="0"/>
      <dgm:spPr/>
    </dgm:pt>
    <dgm:pt modelId="{34BC9B17-DE21-4265-B2E3-1BE71DCCD02E}" type="pres">
      <dgm:prSet presAssocID="{A31FBD7E-5D8F-4E41-B5AB-D55A03ACC311}" presName="compNode" presStyleCnt="0"/>
      <dgm:spPr/>
    </dgm:pt>
    <dgm:pt modelId="{BD3DD7DE-B40A-4404-9F43-698509155532}" type="pres">
      <dgm:prSet presAssocID="{A31FBD7E-5D8F-4E41-B5AB-D55A03ACC311}" presName="bgRect" presStyleLbl="bgShp" presStyleIdx="4" presStyleCnt="6"/>
      <dgm:spPr/>
    </dgm:pt>
    <dgm:pt modelId="{BCAB1956-4E10-41EF-8427-3150048FEA74}" type="pres">
      <dgm:prSet presAssocID="{A31FBD7E-5D8F-4E41-B5AB-D55A03ACC311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1DFFE77B-135F-45DA-9F49-023DF8C2AC58}" type="pres">
      <dgm:prSet presAssocID="{A31FBD7E-5D8F-4E41-B5AB-D55A03ACC311}" presName="spaceRect" presStyleCnt="0"/>
      <dgm:spPr/>
    </dgm:pt>
    <dgm:pt modelId="{DBA2BA1C-FD6B-454B-9D91-A80302D9921A}" type="pres">
      <dgm:prSet presAssocID="{A31FBD7E-5D8F-4E41-B5AB-D55A03ACC311}" presName="parTx" presStyleLbl="revTx" presStyleIdx="4" presStyleCnt="6">
        <dgm:presLayoutVars>
          <dgm:chMax val="0"/>
          <dgm:chPref val="0"/>
        </dgm:presLayoutVars>
      </dgm:prSet>
      <dgm:spPr/>
    </dgm:pt>
    <dgm:pt modelId="{FE6EE660-1DEE-4A9F-B2D0-44770F718EDE}" type="pres">
      <dgm:prSet presAssocID="{85208649-A77A-4FE0-9739-CAC65993F796}" presName="sibTrans" presStyleCnt="0"/>
      <dgm:spPr/>
    </dgm:pt>
    <dgm:pt modelId="{062BC9C1-AB34-4F6D-A86B-9ECABF649E20}" type="pres">
      <dgm:prSet presAssocID="{FD1E3422-AC8F-4845-9562-97577E979146}" presName="compNode" presStyleCnt="0"/>
      <dgm:spPr/>
    </dgm:pt>
    <dgm:pt modelId="{48C0EF48-9B94-40D5-8EA9-A7459EB6B989}" type="pres">
      <dgm:prSet presAssocID="{FD1E3422-AC8F-4845-9562-97577E979146}" presName="bgRect" presStyleLbl="bgShp" presStyleIdx="5" presStyleCnt="6"/>
      <dgm:spPr/>
    </dgm:pt>
    <dgm:pt modelId="{BD4C97D7-83E4-4452-B9BE-19838FA93B9F}" type="pres">
      <dgm:prSet presAssocID="{FD1E3422-AC8F-4845-9562-97577E979146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678C6D28-692E-4EDF-80E3-E5283A35EF45}" type="pres">
      <dgm:prSet presAssocID="{FD1E3422-AC8F-4845-9562-97577E979146}" presName="spaceRect" presStyleCnt="0"/>
      <dgm:spPr/>
    </dgm:pt>
    <dgm:pt modelId="{ABFA04EF-2FBF-48A4-B215-C5237103278F}" type="pres">
      <dgm:prSet presAssocID="{FD1E3422-AC8F-4845-9562-97577E979146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510EDE0F-54E8-4E13-8013-CDA5E7016698}" srcId="{4AC7B640-0A64-4E62-9E35-AF2305B06E71}" destId="{D53E6531-3AA1-4F32-8BAD-44FE591ECC33}" srcOrd="3" destOrd="0" parTransId="{E9195019-F2B5-43AD-B733-FAC61B6E012C}" sibTransId="{09CC9E04-1CDD-4DEA-83C1-2A1CF413228A}"/>
    <dgm:cxn modelId="{49FC9312-B257-4DAC-AC67-F6208D1A91AF}" srcId="{4AC7B640-0A64-4E62-9E35-AF2305B06E71}" destId="{FD1E3422-AC8F-4845-9562-97577E979146}" srcOrd="5" destOrd="0" parTransId="{302E224C-4C2B-412D-B572-FA34E959B95D}" sibTransId="{35287976-B549-4F0A-9018-D04B41F13881}"/>
    <dgm:cxn modelId="{E9DEEF38-58C3-40AC-97B3-9F07A70755B3}" type="presOf" srcId="{0BA8368A-AC5E-4BFB-A4B7-1CF04AADAFE4}" destId="{8918C6D7-746D-441D-BC4A-1193DF36C334}" srcOrd="0" destOrd="0" presId="urn:microsoft.com/office/officeart/2018/2/layout/IconVerticalSolidList"/>
    <dgm:cxn modelId="{9632ED6F-55B8-4095-8794-3A74EB4C4A71}" type="presOf" srcId="{D53E6531-3AA1-4F32-8BAD-44FE591ECC33}" destId="{CE71E6B5-D5D7-4CD4-8F84-052EDD9071F2}" srcOrd="0" destOrd="0" presId="urn:microsoft.com/office/officeart/2018/2/layout/IconVerticalSolidList"/>
    <dgm:cxn modelId="{67E63F8C-3A76-4C09-BB38-767F0D8BD9D0}" type="presOf" srcId="{4EC0A445-1052-4836-B178-5C5E3AB67F08}" destId="{FB27AB40-3A3B-496C-A70B-658632EB85E8}" srcOrd="0" destOrd="0" presId="urn:microsoft.com/office/officeart/2018/2/layout/IconVerticalSolidList"/>
    <dgm:cxn modelId="{FD0E40A1-C22F-4EF6-9307-31A4D6539909}" srcId="{4AC7B640-0A64-4E62-9E35-AF2305B06E71}" destId="{0BA8368A-AC5E-4BFB-A4B7-1CF04AADAFE4}" srcOrd="1" destOrd="0" parTransId="{E9B98AF7-4D8D-45DB-B215-120C239A689E}" sibTransId="{E29B99C0-EB3B-472A-B254-5D87AD97BCBA}"/>
    <dgm:cxn modelId="{369635B6-85D9-4FE2-A9D1-6C3D79515969}" srcId="{4AC7B640-0A64-4E62-9E35-AF2305B06E71}" destId="{A31FBD7E-5D8F-4E41-B5AB-D55A03ACC311}" srcOrd="4" destOrd="0" parTransId="{27E90B2D-7F61-486A-969E-897117FCD719}" sibTransId="{85208649-A77A-4FE0-9739-CAC65993F796}"/>
    <dgm:cxn modelId="{6B52BDC5-75D4-454A-80C1-00211A476A9E}" srcId="{4AC7B640-0A64-4E62-9E35-AF2305B06E71}" destId="{DF42D8AE-6145-47D9-BC1A-5A1A1F551424}" srcOrd="2" destOrd="0" parTransId="{D11BE35C-5D43-4341-943D-65C459176457}" sibTransId="{94871B1F-0166-429A-8FF9-D5359B361986}"/>
    <dgm:cxn modelId="{2EE2EAE4-4729-4474-8307-E3989F51EB1E}" srcId="{4AC7B640-0A64-4E62-9E35-AF2305B06E71}" destId="{4EC0A445-1052-4836-B178-5C5E3AB67F08}" srcOrd="0" destOrd="0" parTransId="{6234A8DA-17A9-4479-9A23-32BFC82ADA61}" sibTransId="{D2B891E0-8FEA-4DF3-9A33-3FD8817930FC}"/>
    <dgm:cxn modelId="{1F2ED0E9-0F70-451A-963A-701E75D664B4}" type="presOf" srcId="{A31FBD7E-5D8F-4E41-B5AB-D55A03ACC311}" destId="{DBA2BA1C-FD6B-454B-9D91-A80302D9921A}" srcOrd="0" destOrd="0" presId="urn:microsoft.com/office/officeart/2018/2/layout/IconVerticalSolidList"/>
    <dgm:cxn modelId="{DA5F0AEC-62C0-480E-9E18-31D6034E8669}" type="presOf" srcId="{4AC7B640-0A64-4E62-9E35-AF2305B06E71}" destId="{3097694B-FC14-4704-947F-83BB3EEBA238}" srcOrd="0" destOrd="0" presId="urn:microsoft.com/office/officeart/2018/2/layout/IconVerticalSolidList"/>
    <dgm:cxn modelId="{799C4EEC-B51B-42A8-9A36-4AF3E7ED4078}" type="presOf" srcId="{DF42D8AE-6145-47D9-BC1A-5A1A1F551424}" destId="{F5286D1F-DAF1-42AD-9D53-DA9D2A9218B5}" srcOrd="0" destOrd="0" presId="urn:microsoft.com/office/officeart/2018/2/layout/IconVerticalSolidList"/>
    <dgm:cxn modelId="{2B359AFB-E324-418A-9DDF-62D31745A76A}" type="presOf" srcId="{FD1E3422-AC8F-4845-9562-97577E979146}" destId="{ABFA04EF-2FBF-48A4-B215-C5237103278F}" srcOrd="0" destOrd="0" presId="urn:microsoft.com/office/officeart/2018/2/layout/IconVerticalSolidList"/>
    <dgm:cxn modelId="{8C4A1089-0F79-496E-9AA1-4664926DBEEA}" type="presParOf" srcId="{3097694B-FC14-4704-947F-83BB3EEBA238}" destId="{9E1E780D-B74A-40C4-B412-B6288D776993}" srcOrd="0" destOrd="0" presId="urn:microsoft.com/office/officeart/2018/2/layout/IconVerticalSolidList"/>
    <dgm:cxn modelId="{825FCB53-5120-4E78-8456-A0A7438E382C}" type="presParOf" srcId="{9E1E780D-B74A-40C4-B412-B6288D776993}" destId="{3B186A08-2CA6-4D1D-A72B-C9BF1987B57B}" srcOrd="0" destOrd="0" presId="urn:microsoft.com/office/officeart/2018/2/layout/IconVerticalSolidList"/>
    <dgm:cxn modelId="{B2264BE4-B4AA-4265-B46C-F7E6A54CD9F3}" type="presParOf" srcId="{9E1E780D-B74A-40C4-B412-B6288D776993}" destId="{F643ECF0-4CBF-43EB-84BF-1C1B97138BB2}" srcOrd="1" destOrd="0" presId="urn:microsoft.com/office/officeart/2018/2/layout/IconVerticalSolidList"/>
    <dgm:cxn modelId="{A744223D-0BCC-4F86-8D4B-22A4A6EF33B2}" type="presParOf" srcId="{9E1E780D-B74A-40C4-B412-B6288D776993}" destId="{B0F7F71B-D9F0-4182-8221-A5CABA4CB422}" srcOrd="2" destOrd="0" presId="urn:microsoft.com/office/officeart/2018/2/layout/IconVerticalSolidList"/>
    <dgm:cxn modelId="{2D7E0480-74E0-444F-9570-EBB2E6080604}" type="presParOf" srcId="{9E1E780D-B74A-40C4-B412-B6288D776993}" destId="{FB27AB40-3A3B-496C-A70B-658632EB85E8}" srcOrd="3" destOrd="0" presId="urn:microsoft.com/office/officeart/2018/2/layout/IconVerticalSolidList"/>
    <dgm:cxn modelId="{2FAD7A32-BB5D-4953-9F58-586B51512955}" type="presParOf" srcId="{3097694B-FC14-4704-947F-83BB3EEBA238}" destId="{BE05386B-EA4F-41EE-884E-37374DB7819B}" srcOrd="1" destOrd="0" presId="urn:microsoft.com/office/officeart/2018/2/layout/IconVerticalSolidList"/>
    <dgm:cxn modelId="{E91C302F-E693-46EC-B34D-87908CD9767D}" type="presParOf" srcId="{3097694B-FC14-4704-947F-83BB3EEBA238}" destId="{EFFDA146-17D7-4D25-B2AF-C331116CEFDE}" srcOrd="2" destOrd="0" presId="urn:microsoft.com/office/officeart/2018/2/layout/IconVerticalSolidList"/>
    <dgm:cxn modelId="{766535AB-A517-4040-9D9A-32913F75F301}" type="presParOf" srcId="{EFFDA146-17D7-4D25-B2AF-C331116CEFDE}" destId="{93344577-7138-416E-92A6-EA0B0A430A3E}" srcOrd="0" destOrd="0" presId="urn:microsoft.com/office/officeart/2018/2/layout/IconVerticalSolidList"/>
    <dgm:cxn modelId="{D0879B0C-3FDD-4C42-8315-3882CCE46DD9}" type="presParOf" srcId="{EFFDA146-17D7-4D25-B2AF-C331116CEFDE}" destId="{226AE7E4-2EA5-4BAD-B0F9-41411DFD67EB}" srcOrd="1" destOrd="0" presId="urn:microsoft.com/office/officeart/2018/2/layout/IconVerticalSolidList"/>
    <dgm:cxn modelId="{FFDAAE59-47A9-4CEB-9D60-8886442633F3}" type="presParOf" srcId="{EFFDA146-17D7-4D25-B2AF-C331116CEFDE}" destId="{066C5609-1A5A-4FC1-A67B-FAC4CFF6A4C9}" srcOrd="2" destOrd="0" presId="urn:microsoft.com/office/officeart/2018/2/layout/IconVerticalSolidList"/>
    <dgm:cxn modelId="{69C8ACF1-0F94-43B6-8666-5DD26F4E12B2}" type="presParOf" srcId="{EFFDA146-17D7-4D25-B2AF-C331116CEFDE}" destId="{8918C6D7-746D-441D-BC4A-1193DF36C334}" srcOrd="3" destOrd="0" presId="urn:microsoft.com/office/officeart/2018/2/layout/IconVerticalSolidList"/>
    <dgm:cxn modelId="{688B0636-7BEB-4F7F-AA37-6332D87D8A17}" type="presParOf" srcId="{3097694B-FC14-4704-947F-83BB3EEBA238}" destId="{3F8B9084-7462-4592-8036-99BBD521ECFE}" srcOrd="3" destOrd="0" presId="urn:microsoft.com/office/officeart/2018/2/layout/IconVerticalSolidList"/>
    <dgm:cxn modelId="{A87967A3-5CE8-43FE-86E5-09029D32609A}" type="presParOf" srcId="{3097694B-FC14-4704-947F-83BB3EEBA238}" destId="{3FDD3F4E-DCA8-4E98-95D1-CC08C503D148}" srcOrd="4" destOrd="0" presId="urn:microsoft.com/office/officeart/2018/2/layout/IconVerticalSolidList"/>
    <dgm:cxn modelId="{DA78847E-3165-4554-8192-4B987971D3CB}" type="presParOf" srcId="{3FDD3F4E-DCA8-4E98-95D1-CC08C503D148}" destId="{A871B8CC-2CE4-4ABC-8C1B-3B63D3BD6231}" srcOrd="0" destOrd="0" presId="urn:microsoft.com/office/officeart/2018/2/layout/IconVerticalSolidList"/>
    <dgm:cxn modelId="{A0DBFE9F-9C84-4836-9338-61B98880CD42}" type="presParOf" srcId="{3FDD3F4E-DCA8-4E98-95D1-CC08C503D148}" destId="{2B4E5F00-B0A9-4A0C-BBF4-E11F53D28178}" srcOrd="1" destOrd="0" presId="urn:microsoft.com/office/officeart/2018/2/layout/IconVerticalSolidList"/>
    <dgm:cxn modelId="{6A81FA88-EBB4-4DF9-AA95-404814083DD6}" type="presParOf" srcId="{3FDD3F4E-DCA8-4E98-95D1-CC08C503D148}" destId="{54E2A211-70DC-48E5-B10B-269FB29E1129}" srcOrd="2" destOrd="0" presId="urn:microsoft.com/office/officeart/2018/2/layout/IconVerticalSolidList"/>
    <dgm:cxn modelId="{B2471567-7885-4B13-9CC0-077FC14A8C56}" type="presParOf" srcId="{3FDD3F4E-DCA8-4E98-95D1-CC08C503D148}" destId="{F5286D1F-DAF1-42AD-9D53-DA9D2A9218B5}" srcOrd="3" destOrd="0" presId="urn:microsoft.com/office/officeart/2018/2/layout/IconVerticalSolidList"/>
    <dgm:cxn modelId="{FD751452-8A46-41E8-A9AF-122D7BA9D9D2}" type="presParOf" srcId="{3097694B-FC14-4704-947F-83BB3EEBA238}" destId="{BD8DA398-1B35-4E13-A886-D1B5C2659C87}" srcOrd="5" destOrd="0" presId="urn:microsoft.com/office/officeart/2018/2/layout/IconVerticalSolidList"/>
    <dgm:cxn modelId="{94678E29-408A-4CEC-AE79-05D321679CE5}" type="presParOf" srcId="{3097694B-FC14-4704-947F-83BB3EEBA238}" destId="{B76F2797-5E43-4F3B-9B67-0F031B818E1A}" srcOrd="6" destOrd="0" presId="urn:microsoft.com/office/officeart/2018/2/layout/IconVerticalSolidList"/>
    <dgm:cxn modelId="{070E39F6-0E12-4666-B023-03F654C80768}" type="presParOf" srcId="{B76F2797-5E43-4F3B-9B67-0F031B818E1A}" destId="{B01E34F4-2C27-4F88-BC5D-053A219842D8}" srcOrd="0" destOrd="0" presId="urn:microsoft.com/office/officeart/2018/2/layout/IconVerticalSolidList"/>
    <dgm:cxn modelId="{D18C04FB-F007-430E-B959-C6D25AE8162D}" type="presParOf" srcId="{B76F2797-5E43-4F3B-9B67-0F031B818E1A}" destId="{345B167F-3926-4034-93CC-21EA1E7CA0A0}" srcOrd="1" destOrd="0" presId="urn:microsoft.com/office/officeart/2018/2/layout/IconVerticalSolidList"/>
    <dgm:cxn modelId="{8740ECD8-F837-4819-94B6-A759C2EE5E86}" type="presParOf" srcId="{B76F2797-5E43-4F3B-9B67-0F031B818E1A}" destId="{82F85FD1-BDCF-4A8D-B1F2-F575732E56D9}" srcOrd="2" destOrd="0" presId="urn:microsoft.com/office/officeart/2018/2/layout/IconVerticalSolidList"/>
    <dgm:cxn modelId="{CDB489E1-3378-4449-9412-F47C3DCE1B5C}" type="presParOf" srcId="{B76F2797-5E43-4F3B-9B67-0F031B818E1A}" destId="{CE71E6B5-D5D7-4CD4-8F84-052EDD9071F2}" srcOrd="3" destOrd="0" presId="urn:microsoft.com/office/officeart/2018/2/layout/IconVerticalSolidList"/>
    <dgm:cxn modelId="{69D8F710-E6FD-40AA-B313-E9F0DB3E42A7}" type="presParOf" srcId="{3097694B-FC14-4704-947F-83BB3EEBA238}" destId="{1198BB97-6435-47F1-93AD-1D670ABC3A17}" srcOrd="7" destOrd="0" presId="urn:microsoft.com/office/officeart/2018/2/layout/IconVerticalSolidList"/>
    <dgm:cxn modelId="{F97CF2D0-DC2C-41DC-A652-7AAA0E07739E}" type="presParOf" srcId="{3097694B-FC14-4704-947F-83BB3EEBA238}" destId="{34BC9B17-DE21-4265-B2E3-1BE71DCCD02E}" srcOrd="8" destOrd="0" presId="urn:microsoft.com/office/officeart/2018/2/layout/IconVerticalSolidList"/>
    <dgm:cxn modelId="{DABB65BB-67F2-4543-93F8-FAC759D1E046}" type="presParOf" srcId="{34BC9B17-DE21-4265-B2E3-1BE71DCCD02E}" destId="{BD3DD7DE-B40A-4404-9F43-698509155532}" srcOrd="0" destOrd="0" presId="urn:microsoft.com/office/officeart/2018/2/layout/IconVerticalSolidList"/>
    <dgm:cxn modelId="{0D4CC689-0145-4692-BD8F-E02F37510670}" type="presParOf" srcId="{34BC9B17-DE21-4265-B2E3-1BE71DCCD02E}" destId="{BCAB1956-4E10-41EF-8427-3150048FEA74}" srcOrd="1" destOrd="0" presId="urn:microsoft.com/office/officeart/2018/2/layout/IconVerticalSolidList"/>
    <dgm:cxn modelId="{2B70A8D6-55FD-4EED-86F9-E0C016B3FD62}" type="presParOf" srcId="{34BC9B17-DE21-4265-B2E3-1BE71DCCD02E}" destId="{1DFFE77B-135F-45DA-9F49-023DF8C2AC58}" srcOrd="2" destOrd="0" presId="urn:microsoft.com/office/officeart/2018/2/layout/IconVerticalSolidList"/>
    <dgm:cxn modelId="{F9FA71C5-711D-40C1-9FF1-B651828976CF}" type="presParOf" srcId="{34BC9B17-DE21-4265-B2E3-1BE71DCCD02E}" destId="{DBA2BA1C-FD6B-454B-9D91-A80302D9921A}" srcOrd="3" destOrd="0" presId="urn:microsoft.com/office/officeart/2018/2/layout/IconVerticalSolidList"/>
    <dgm:cxn modelId="{6869DBFC-443E-4A99-9F95-E6ADC55BAEC1}" type="presParOf" srcId="{3097694B-FC14-4704-947F-83BB3EEBA238}" destId="{FE6EE660-1DEE-4A9F-B2D0-44770F718EDE}" srcOrd="9" destOrd="0" presId="urn:microsoft.com/office/officeart/2018/2/layout/IconVerticalSolidList"/>
    <dgm:cxn modelId="{29816DCE-7DF5-44F8-B9CA-121B512AB1EE}" type="presParOf" srcId="{3097694B-FC14-4704-947F-83BB3EEBA238}" destId="{062BC9C1-AB34-4F6D-A86B-9ECABF649E20}" srcOrd="10" destOrd="0" presId="urn:microsoft.com/office/officeart/2018/2/layout/IconVerticalSolidList"/>
    <dgm:cxn modelId="{9F304A4D-B7CF-41AC-8C12-E88CDC31BECA}" type="presParOf" srcId="{062BC9C1-AB34-4F6D-A86B-9ECABF649E20}" destId="{48C0EF48-9B94-40D5-8EA9-A7459EB6B989}" srcOrd="0" destOrd="0" presId="urn:microsoft.com/office/officeart/2018/2/layout/IconVerticalSolidList"/>
    <dgm:cxn modelId="{CC21487B-AB5F-4F8C-A311-7FAF16C726E8}" type="presParOf" srcId="{062BC9C1-AB34-4F6D-A86B-9ECABF649E20}" destId="{BD4C97D7-83E4-4452-B9BE-19838FA93B9F}" srcOrd="1" destOrd="0" presId="urn:microsoft.com/office/officeart/2018/2/layout/IconVerticalSolidList"/>
    <dgm:cxn modelId="{9CD581E7-E712-48A1-8286-B5875BE26606}" type="presParOf" srcId="{062BC9C1-AB34-4F6D-A86B-9ECABF649E20}" destId="{678C6D28-692E-4EDF-80E3-E5283A35EF45}" srcOrd="2" destOrd="0" presId="urn:microsoft.com/office/officeart/2018/2/layout/IconVerticalSolidList"/>
    <dgm:cxn modelId="{7DA9C215-866F-4B02-81D4-CEF5AA9BAF0A}" type="presParOf" srcId="{062BC9C1-AB34-4F6D-A86B-9ECABF649E20}" destId="{ABFA04EF-2FBF-48A4-B215-C5237103278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186A08-2CA6-4D1D-A72B-C9BF1987B57B}">
      <dsp:nvSpPr>
        <dsp:cNvPr id="0" name=""/>
        <dsp:cNvSpPr/>
      </dsp:nvSpPr>
      <dsp:spPr>
        <a:xfrm>
          <a:off x="0" y="1700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43ECF0-4CBF-43EB-84BF-1C1B97138BB2}">
      <dsp:nvSpPr>
        <dsp:cNvPr id="0" name=""/>
        <dsp:cNvSpPr/>
      </dsp:nvSpPr>
      <dsp:spPr>
        <a:xfrm>
          <a:off x="219216" y="164754"/>
          <a:ext cx="398575" cy="39857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27AB40-3A3B-496C-A70B-658632EB85E8}">
      <dsp:nvSpPr>
        <dsp:cNvPr id="0" name=""/>
        <dsp:cNvSpPr/>
      </dsp:nvSpPr>
      <dsp:spPr>
        <a:xfrm>
          <a:off x="837007" y="1700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Selection</a:t>
          </a:r>
          <a:endParaRPr lang="en-US" sz="1900" kern="1200"/>
        </a:p>
      </dsp:txBody>
      <dsp:txXfrm>
        <a:off x="837007" y="1700"/>
        <a:ext cx="6320984" cy="724682"/>
      </dsp:txXfrm>
    </dsp:sp>
    <dsp:sp modelId="{93344577-7138-416E-92A6-EA0B0A430A3E}">
      <dsp:nvSpPr>
        <dsp:cNvPr id="0" name=""/>
        <dsp:cNvSpPr/>
      </dsp:nvSpPr>
      <dsp:spPr>
        <a:xfrm>
          <a:off x="0" y="907553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6AE7E4-2EA5-4BAD-B0F9-41411DFD67EB}">
      <dsp:nvSpPr>
        <dsp:cNvPr id="0" name=""/>
        <dsp:cNvSpPr/>
      </dsp:nvSpPr>
      <dsp:spPr>
        <a:xfrm>
          <a:off x="219216" y="1070606"/>
          <a:ext cx="398575" cy="39857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18C6D7-746D-441D-BC4A-1193DF36C334}">
      <dsp:nvSpPr>
        <dsp:cNvPr id="0" name=""/>
        <dsp:cNvSpPr/>
      </dsp:nvSpPr>
      <dsp:spPr>
        <a:xfrm>
          <a:off x="837007" y="907553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Characterization</a:t>
          </a:r>
          <a:endParaRPr lang="en-US" sz="1900" kern="1200"/>
        </a:p>
      </dsp:txBody>
      <dsp:txXfrm>
        <a:off x="837007" y="907553"/>
        <a:ext cx="6320984" cy="724682"/>
      </dsp:txXfrm>
    </dsp:sp>
    <dsp:sp modelId="{A871B8CC-2CE4-4ABC-8C1B-3B63D3BD6231}">
      <dsp:nvSpPr>
        <dsp:cNvPr id="0" name=""/>
        <dsp:cNvSpPr/>
      </dsp:nvSpPr>
      <dsp:spPr>
        <a:xfrm>
          <a:off x="0" y="1813405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4E5F00-B0A9-4A0C-BBF4-E11F53D28178}">
      <dsp:nvSpPr>
        <dsp:cNvPr id="0" name=""/>
        <dsp:cNvSpPr/>
      </dsp:nvSpPr>
      <dsp:spPr>
        <a:xfrm>
          <a:off x="219216" y="1976459"/>
          <a:ext cx="398575" cy="39857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286D1F-DAF1-42AD-9D53-DA9D2A9218B5}">
      <dsp:nvSpPr>
        <dsp:cNvPr id="0" name=""/>
        <dsp:cNvSpPr/>
      </dsp:nvSpPr>
      <dsp:spPr>
        <a:xfrm>
          <a:off x="837007" y="1813405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Formulation and Manufacturing Process Development</a:t>
          </a:r>
          <a:endParaRPr lang="en-US" sz="1900" kern="1200"/>
        </a:p>
      </dsp:txBody>
      <dsp:txXfrm>
        <a:off x="837007" y="1813405"/>
        <a:ext cx="6320984" cy="724682"/>
      </dsp:txXfrm>
    </dsp:sp>
    <dsp:sp modelId="{B01E34F4-2C27-4F88-BC5D-053A219842D8}">
      <dsp:nvSpPr>
        <dsp:cNvPr id="0" name=""/>
        <dsp:cNvSpPr/>
      </dsp:nvSpPr>
      <dsp:spPr>
        <a:xfrm>
          <a:off x="0" y="2719258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5B167F-3926-4034-93CC-21EA1E7CA0A0}">
      <dsp:nvSpPr>
        <dsp:cNvPr id="0" name=""/>
        <dsp:cNvSpPr/>
      </dsp:nvSpPr>
      <dsp:spPr>
        <a:xfrm>
          <a:off x="219216" y="2882311"/>
          <a:ext cx="398575" cy="39857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71E6B5-D5D7-4CD4-8F84-052EDD9071F2}">
      <dsp:nvSpPr>
        <dsp:cNvPr id="0" name=""/>
        <dsp:cNvSpPr/>
      </dsp:nvSpPr>
      <dsp:spPr>
        <a:xfrm>
          <a:off x="837007" y="2719258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Clinical Support</a:t>
          </a:r>
          <a:endParaRPr lang="en-US" sz="1900" kern="1200"/>
        </a:p>
      </dsp:txBody>
      <dsp:txXfrm>
        <a:off x="837007" y="2719258"/>
        <a:ext cx="6320984" cy="724682"/>
      </dsp:txXfrm>
    </dsp:sp>
    <dsp:sp modelId="{BD3DD7DE-B40A-4404-9F43-698509155532}">
      <dsp:nvSpPr>
        <dsp:cNvPr id="0" name=""/>
        <dsp:cNvSpPr/>
      </dsp:nvSpPr>
      <dsp:spPr>
        <a:xfrm>
          <a:off x="0" y="3625110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AB1956-4E10-41EF-8427-3150048FEA74}">
      <dsp:nvSpPr>
        <dsp:cNvPr id="0" name=""/>
        <dsp:cNvSpPr/>
      </dsp:nvSpPr>
      <dsp:spPr>
        <a:xfrm>
          <a:off x="219216" y="3788164"/>
          <a:ext cx="398575" cy="398575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A2BA1C-FD6B-454B-9D91-A80302D9921A}">
      <dsp:nvSpPr>
        <dsp:cNvPr id="0" name=""/>
        <dsp:cNvSpPr/>
      </dsp:nvSpPr>
      <dsp:spPr>
        <a:xfrm>
          <a:off x="837007" y="3625110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Commercial Support</a:t>
          </a:r>
          <a:endParaRPr lang="en-US" sz="1900" kern="1200"/>
        </a:p>
      </dsp:txBody>
      <dsp:txXfrm>
        <a:off x="837007" y="3625110"/>
        <a:ext cx="6320984" cy="724682"/>
      </dsp:txXfrm>
    </dsp:sp>
    <dsp:sp modelId="{48C0EF48-9B94-40D5-8EA9-A7459EB6B989}">
      <dsp:nvSpPr>
        <dsp:cNvPr id="0" name=""/>
        <dsp:cNvSpPr/>
      </dsp:nvSpPr>
      <dsp:spPr>
        <a:xfrm>
          <a:off x="0" y="4530963"/>
          <a:ext cx="7157992" cy="72468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4C97D7-83E4-4452-B9BE-19838FA93B9F}">
      <dsp:nvSpPr>
        <dsp:cNvPr id="0" name=""/>
        <dsp:cNvSpPr/>
      </dsp:nvSpPr>
      <dsp:spPr>
        <a:xfrm>
          <a:off x="219216" y="4694016"/>
          <a:ext cx="398575" cy="398575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FA04EF-2FBF-48A4-B215-C5237103278F}">
      <dsp:nvSpPr>
        <dsp:cNvPr id="0" name=""/>
        <dsp:cNvSpPr/>
      </dsp:nvSpPr>
      <dsp:spPr>
        <a:xfrm>
          <a:off x="837007" y="4530963"/>
          <a:ext cx="6320984" cy="7246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696" tIns="76696" rIns="76696" bIns="76696" numCol="1" spcCol="1270" anchor="ctr" anchorCtr="0">
          <a:noAutofit/>
        </a:bodyPr>
        <a:lstStyle/>
        <a:p>
          <a:pPr marL="0" lvl="0" indent="0" algn="l" defTabSz="8445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Documentation</a:t>
          </a:r>
          <a:endParaRPr lang="en-US" sz="1900" kern="1200"/>
        </a:p>
      </dsp:txBody>
      <dsp:txXfrm>
        <a:off x="837007" y="4530963"/>
        <a:ext cx="6320984" cy="7246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F51F60-1FF3-45CA-BB81-3BB38886B9AC}" type="datetimeFigureOut">
              <a:rPr lang="en-US" smtClean="0"/>
              <a:t>4/2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62550F-A04A-4114-851B-B10407832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127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TC = 1.5 ug/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62550F-A04A-4114-851B-B104078326C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904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35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406140" cy="435133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36380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rgbClr val="C50F3C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43314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  <a:ln>
            <a:noFill/>
          </a:ln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576410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5081891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Trebuchet MS" panose="020B0703020202090204" pitchFamily="34" charset="0"/>
                <a:cs typeface="Trebuchet MS" panose="020B070302020209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888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73976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73420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l">
              <a:lnSpc>
                <a:spcPct val="80000"/>
              </a:lnSpc>
              <a:defRPr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tx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27656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156575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-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E1FAF-85CD-FA4B-81FE-A9FD82D22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216341-DBB4-0D4B-B285-B706134D81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654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6407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43CA030-B9BB-F44B-87E8-9D88D61595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71CDD-03B6-5447-B8EF-BC2DD2AB7D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1658249"/>
            <a:ext cx="10058400" cy="2387600"/>
          </a:xfrm>
        </p:spPr>
        <p:txBody>
          <a:bodyPr anchor="b"/>
          <a:lstStyle>
            <a:lvl1pPr algn="l">
              <a:lnSpc>
                <a:spcPct val="80000"/>
              </a:lnSpc>
              <a:defRPr sz="5000" b="1" i="0" spc="0" baseline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72D1E-ECF6-C04B-874C-31D977FFD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0" y="4077886"/>
            <a:ext cx="10058400" cy="1655762"/>
          </a:xfrm>
        </p:spPr>
        <p:txBody>
          <a:bodyPr anchor="t">
            <a:noAutofit/>
          </a:bodyPr>
          <a:lstStyle>
            <a:lvl1pPr marL="0" indent="0" algn="l">
              <a:lnSpc>
                <a:spcPct val="110000"/>
              </a:lnSpc>
              <a:buNone/>
              <a:defRPr sz="1500" b="0" i="0" kern="800" spc="300" baseline="0">
                <a:solidFill>
                  <a:schemeClr val="bg2">
                    <a:lumMod val="20000"/>
                    <a:lumOff val="80000"/>
                  </a:schemeClr>
                </a:solidFill>
                <a:latin typeface="Trebuchet MS" panose="020B070302020209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776B36C-1ADE-4B47-A218-99AEE676BE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B0F7620-0E7C-AB48-9117-2E580F93F8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9" y="637899"/>
            <a:ext cx="1793826" cy="496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9898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8936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26758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E83E5-2EF2-6A43-863C-E6A58A5E3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615" y="2062501"/>
            <a:ext cx="11269255" cy="411446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115888" indent="0">
              <a:buNone/>
              <a:defRPr b="0" i="1">
                <a:solidFill>
                  <a:schemeClr val="tx1"/>
                </a:solidFill>
                <a:latin typeface="Georgia" panose="02040502050405020303" pitchFamily="18" charset="0"/>
                <a:ea typeface="Roboto Light" panose="02000000000000000000" pitchFamily="2" charset="0"/>
                <a:cs typeface="Arial" panose="020B0604020202020204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A11B6D-85FD-BA46-B0C1-FEA93902B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15" y="1018903"/>
            <a:ext cx="11269255" cy="671785"/>
          </a:xfrm>
        </p:spPr>
        <p:txBody>
          <a:bodyPr lIns="0" tIns="0" rIns="0" bIns="0" anchor="t" anchorCtr="0"/>
          <a:lstStyle>
            <a:lvl1pPr>
              <a:defRPr b="1" i="0">
                <a:solidFill>
                  <a:schemeClr val="accent1"/>
                </a:solidFill>
                <a:latin typeface="Trebuchet MS" panose="020B070302020209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F3949077-E0E8-B647-A11F-24C62D2D4087}"/>
              </a:ext>
            </a:extLst>
          </p:cNvPr>
          <p:cNvSpPr txBox="1">
            <a:spLocks/>
          </p:cNvSpPr>
          <p:nvPr userDrawn="1"/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>
                    <a:lumMod val="40000"/>
                    <a:lumOff val="60000"/>
                  </a:schemeClr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9B283B9-5D9B-F94B-BF86-B66DD0953C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9800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FA910F-3277-4B3E-A9EE-D900AE3E1F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4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2179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612" b="0" i="0" u="none" strike="noStrike" kern="1200" cap="none" spc="0" normalizeH="0" baseline="0" noProof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91BA7DE7-7087-46DD-8863-8070C10A0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1015" y="6400799"/>
            <a:ext cx="2743200" cy="291492"/>
          </a:xfrm>
        </p:spPr>
        <p:txBody>
          <a:bodyPr/>
          <a:lstStyle>
            <a:lvl1pPr>
              <a:defRPr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98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875943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059352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86838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988251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ctr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5583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ctr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3943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67315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 userDrawn="1"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7" y="1189899"/>
            <a:ext cx="3535407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/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833176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-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91D0A4-F952-E844-8B2C-D3F8A2A9AD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3544252" cy="4351338"/>
          </a:xfrm>
        </p:spPr>
        <p:txBody>
          <a:bodyPr anchor="ctr">
            <a:noAutofit/>
          </a:bodyPr>
          <a:lstStyle>
            <a:lvl1pPr algn="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BB3B64-FFC3-D742-A6BD-5B3A95232C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113FFD9-00BB-A343-8353-85DCCB1A6FE5}"/>
              </a:ext>
            </a:extLst>
          </p:cNvPr>
          <p:cNvCxnSpPr>
            <a:cxnSpLocks/>
          </p:cNvCxnSpPr>
          <p:nvPr userDrawn="1"/>
        </p:nvCxnSpPr>
        <p:spPr>
          <a:xfrm>
            <a:off x="4260501" y="1628503"/>
            <a:ext cx="0" cy="347472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6E2F89F-DE6E-8E49-BDFB-6B8DE8B72A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800327"/>
            <a:ext cx="7157992" cy="5257346"/>
          </a:xfrm>
        </p:spPr>
        <p:txBody>
          <a:bodyPr anchor="ctr"/>
          <a:lstStyle>
            <a:lvl1pPr>
              <a:lnSpc>
                <a:spcPct val="110000"/>
              </a:lnSpc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F56A3F-5A2F-DF4C-8531-9765BE13BE71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467514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solidFill>
                  <a:srgbClr val="C50F3C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446011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Comparison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  <a:ln>
            <a:noFill/>
          </a:ln>
        </p:spPr>
        <p:txBody>
          <a:bodyPr anchor="ctr">
            <a:normAutofit/>
          </a:bodyPr>
          <a:lstStyle>
            <a:lvl1pPr algn="r">
              <a:lnSpc>
                <a:spcPct val="80000"/>
              </a:lnSpc>
              <a:defRPr sz="3200" b="1" i="0">
                <a:ln>
                  <a:noFill/>
                </a:ln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F86E1D-B041-3D46-9EA6-1DD6635C6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B6A4804-8EDB-6D4D-B64B-E9206508601A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614809" y="1189899"/>
            <a:ext cx="5150842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3200" b="0" i="0">
                <a:solidFill>
                  <a:schemeClr val="tx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7777C60-735A-6242-A92B-3C5B7BA7ED40}"/>
              </a:ext>
            </a:extLst>
          </p:cNvPr>
          <p:cNvSpPr txBox="1">
            <a:spLocks/>
          </p:cNvSpPr>
          <p:nvPr userDrawn="1"/>
        </p:nvSpPr>
        <p:spPr>
          <a:xfrm>
            <a:off x="6614809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672840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549406C-54AA-BB4A-A894-DCE9A23B31D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Proxima Nova Regular" panose="02000506030000020004" pitchFamily="2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613E1D2-5834-AD41-804E-D607287602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4" y="6400799"/>
            <a:ext cx="745915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F170BCB-3373-5549-9815-B668B2498165}"/>
              </a:ext>
            </a:extLst>
          </p:cNvPr>
          <p:cNvSpPr txBox="1">
            <a:spLocks/>
          </p:cNvSpPr>
          <p:nvPr userDrawn="1"/>
        </p:nvSpPr>
        <p:spPr>
          <a:xfrm>
            <a:off x="1707493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8C30483-00F3-D64E-AAE5-F07B9B5C01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4406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0ECE671-F431-CD4B-9BF1-7FDB1F32755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57188" y="1189899"/>
            <a:ext cx="5220003" cy="4351338"/>
          </a:xfrm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defRPr sz="3200" b="1" i="0">
                <a:solidFill>
                  <a:schemeClr val="accent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003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10972800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214062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942677"/>
            <a:ext cx="5399951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403848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8460B3-6ACD-194D-9D44-C086FB470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516" y="365125"/>
            <a:ext cx="10972800" cy="987019"/>
          </a:xfrm>
        </p:spPr>
        <p:txBody>
          <a:bodyPr/>
          <a:lstStyle>
            <a:lvl1pPr algn="ctr">
              <a:lnSpc>
                <a:spcPct val="80000"/>
              </a:lnSpc>
              <a:defRPr b="1" i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CD8113E-1FCA-604A-96E5-3BF77C5AC38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0CAA9C4-E772-E443-A2A4-0F2D14E9891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05587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C246391-91B4-BC47-A6BA-88CFDDCA116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33658" y="1942677"/>
            <a:ext cx="3516658" cy="4229524"/>
          </a:xfrm>
        </p:spPr>
        <p:txBody>
          <a:bodyPr/>
          <a:lstStyle>
            <a:lvl1pPr>
              <a:lnSpc>
                <a:spcPct val="110000"/>
              </a:lnSpc>
              <a:spcAft>
                <a:spcPts val="800"/>
              </a:spcAft>
              <a:defRPr/>
            </a:lvl1pPr>
            <a:lvl2pPr marL="15875" indent="0">
              <a:lnSpc>
                <a:spcPct val="110000"/>
              </a:lnSpc>
              <a:buNone/>
              <a:tabLst/>
              <a:defRPr sz="1800" b="0">
                <a:solidFill>
                  <a:schemeClr val="accent1"/>
                </a:solidFill>
              </a:defRPr>
            </a:lvl2pPr>
            <a:lvl3pPr marL="287338" indent="-169863">
              <a:lnSpc>
                <a:spcPct val="110000"/>
              </a:lnSpc>
              <a:tabLst/>
              <a:defRPr sz="1600"/>
            </a:lvl3pPr>
            <a:lvl4pPr marL="693738" indent="-169863">
              <a:lnSpc>
                <a:spcPct val="110000"/>
              </a:lnSpc>
              <a:tabLst/>
              <a:defRPr sz="1400"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78584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Grey -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BF970B-3FB2-E84A-B70E-2F82C3C4236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BAE6AD-B7D4-B04A-86FE-7779FC9A23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17CF6A-808E-8C4F-9BE1-5072668480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CCA6249-8962-9949-96AE-7C11B8F0135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858191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 Background">
    <p:bg>
      <p:bgPr>
        <a:solidFill>
          <a:srgbClr val="C50F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285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2036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bg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31A395-5299-7D44-A1C5-492B77DA5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08880F-2D4A-9544-A50E-C5BA3EADCBB5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801919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2037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ackgroun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63154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E83E5-2EF2-6A43-863C-E6A58A5E3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615" y="2062501"/>
            <a:ext cx="11269255" cy="411446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32D094-B162-CC47-A614-660A97B75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6848" y="6446519"/>
            <a:ext cx="457200" cy="411480"/>
          </a:xfrm>
        </p:spPr>
        <p:txBody>
          <a:bodyPr/>
          <a:lstStyle>
            <a:lvl1pPr>
              <a:defRPr sz="900" b="0" i="0">
                <a:solidFill>
                  <a:schemeClr val="tx2"/>
                </a:solidFill>
                <a:latin typeface="Trebuchet MS Regular" panose="020B0603020202020204" pitchFamily="34" charset="0"/>
              </a:defRPr>
            </a:lvl1pPr>
          </a:lstStyle>
          <a:p>
            <a:fld id="{A98D944F-E0E7-A24A-914C-DDFD515C15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A11B6D-85FD-BA46-B0C1-FEA93902B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15" y="1018903"/>
            <a:ext cx="11269255" cy="671785"/>
          </a:xfrm>
        </p:spPr>
        <p:txBody>
          <a:bodyPr lIns="0" tIns="0" rIns="0" bIns="0" anchor="t" anchorCtr="0"/>
          <a:lstStyle>
            <a:lvl1pPr>
              <a:defRPr b="0" i="0">
                <a:solidFill>
                  <a:schemeClr val="accent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2069A6-8153-C342-982B-7D35960FC5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615" y="302024"/>
            <a:ext cx="1581949" cy="52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2793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9F3BC-C140-47D2-A5A0-F76E2747C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4E3DBE-1C09-47AE-90B3-6E038C9B8F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F5A4A8-F047-49E8-81AF-8CD6590E3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9EDDB-4B93-4B59-B270-7F6F180704A0}" type="datetimeFigureOut">
              <a:rPr lang="en-US" smtClean="0"/>
              <a:t>4/2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9A4C2-536A-4C3B-8422-2CB27D932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3C25D8-FAD0-407B-AA29-BFE0F1086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247FF2-EB27-4C04-B4FC-D0A3AEE272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9028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E83E5-2EF2-6A43-863C-E6A58A5E3C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615" y="2062501"/>
            <a:ext cx="11269255" cy="411446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2pPr>
            <a:lvl3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3pPr>
            <a:lvl4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4pPr>
            <a:lvl5pPr>
              <a:defRPr b="0" i="0">
                <a:solidFill>
                  <a:schemeClr val="tx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32D094-B162-CC47-A614-660A97B755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6848" y="6446519"/>
            <a:ext cx="457200" cy="411480"/>
          </a:xfrm>
        </p:spPr>
        <p:txBody>
          <a:bodyPr/>
          <a:lstStyle>
            <a:lvl1pPr>
              <a:defRPr sz="900" b="0" i="0">
                <a:solidFill>
                  <a:schemeClr val="tx2"/>
                </a:solidFill>
                <a:latin typeface="Trebuchet MS Regular" panose="020B0603020202020204" pitchFamily="34" charset="0"/>
              </a:defRPr>
            </a:lvl1pPr>
          </a:lstStyle>
          <a:p>
            <a:fld id="{A98D944F-E0E7-A24A-914C-DDFD515C158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9A11B6D-85FD-BA46-B0C1-FEA93902B8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15" y="1018903"/>
            <a:ext cx="11269255" cy="671785"/>
          </a:xfrm>
        </p:spPr>
        <p:txBody>
          <a:bodyPr lIns="0" tIns="0" rIns="0" bIns="0" anchor="t" anchorCtr="0"/>
          <a:lstStyle>
            <a:lvl1pPr>
              <a:defRPr b="0" i="0">
                <a:solidFill>
                  <a:schemeClr val="accent1"/>
                </a:solidFill>
                <a:latin typeface="Trebuchet MS Regular" panose="020B0603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2069A6-8153-C342-982B-7D35960FC5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615" y="302024"/>
            <a:ext cx="1581949" cy="527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595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rgbClr val="C50F3C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284098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778F8C-30DF-F842-ADEE-52BB756B5D43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302299"/>
            <a:ext cx="10515600" cy="4207548"/>
          </a:xfrm>
          <a:ln w="3175"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sz="4500" b="1" i="0">
                <a:solidFill>
                  <a:schemeClr val="accent1"/>
                </a:solidFill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C15627-71F4-D94E-9E76-16A5E0A7B8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699E1-1B62-794A-94A6-68D1CF83160F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33579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F386F-4435-1E40-A8ED-AFFEAC3031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949B4A-737F-9943-BA78-DDF26CE4B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32482"/>
            <a:ext cx="10515600" cy="1895109"/>
          </a:xfrm>
          <a:ln w="3175">
            <a:noFill/>
          </a:ln>
        </p:spPr>
        <p:txBody>
          <a:bodyPr anchor="ctr"/>
          <a:lstStyle>
            <a:lvl1pPr algn="l">
              <a:lnSpc>
                <a:spcPct val="80000"/>
              </a:lnSpc>
              <a:defRPr sz="5500" b="1" i="0" spc="300">
                <a:solidFill>
                  <a:schemeClr val="bg1"/>
                </a:solidFill>
                <a:effectLst>
                  <a:outerShdw blurRad="127000" dist="38100" dir="5400000" algn="t" rotWithShape="0">
                    <a:prstClr val="black"/>
                  </a:outerShdw>
                </a:effectLst>
                <a:latin typeface="Trebuchet MS" panose="020B070302020209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3D4413-B16E-B048-AA99-4B9BAA9B49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84591" y="6415616"/>
            <a:ext cx="196394" cy="261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090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E634AED-FE2D-5A49-9C4F-52E8C06D754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8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33E1CBD-1A22-C34C-8DC4-474E34B2CDF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0" y="957364"/>
            <a:ext cx="5939883" cy="4943272"/>
          </a:xfrm>
          <a:solidFill>
            <a:srgbClr val="C50F3C"/>
          </a:solidFill>
        </p:spPr>
        <p:txBody>
          <a:bodyPr lIns="914400" tIns="914400" rIns="914400" bIns="914400" anchor="ctr">
            <a:normAutofit/>
          </a:bodyPr>
          <a:lstStyle>
            <a:lvl1pPr algn="l">
              <a:lnSpc>
                <a:spcPct val="80000"/>
              </a:lnSpc>
              <a:defRPr sz="32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38731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C5E49E7-6ADE-DD40-AD32-5A28176B24BC}"/>
              </a:ext>
            </a:extLst>
          </p:cNvPr>
          <p:cNvSpPr/>
          <p:nvPr userDrawn="1"/>
        </p:nvSpPr>
        <p:spPr>
          <a:xfrm>
            <a:off x="4249783" y="0"/>
            <a:ext cx="794221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5C0A2E-84ED-694A-8D40-40A9466155D7}"/>
              </a:ext>
            </a:extLst>
          </p:cNvPr>
          <p:cNvSpPr/>
          <p:nvPr userDrawn="1"/>
        </p:nvSpPr>
        <p:spPr>
          <a:xfrm>
            <a:off x="0" y="0"/>
            <a:ext cx="42497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176D08-DDAD-E54A-B358-69F6739D98F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5300" y="1189899"/>
            <a:ext cx="3397294" cy="4351338"/>
          </a:xfr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5000" b="1" i="0" spc="300">
                <a:solidFill>
                  <a:schemeClr val="bg1"/>
                </a:solidFill>
                <a:latin typeface="Trebuchet MS" panose="020B0703020202090204" pitchFamily="34" charset="0"/>
                <a:cs typeface="Rockwell Nova Light" panose="020603030202050204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9753706-DED6-894F-BE2A-F4DA16AF10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765651" y="6408817"/>
            <a:ext cx="206592" cy="275456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EB27AF-DD57-7246-971E-7506C05081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6972" y="781844"/>
            <a:ext cx="7157992" cy="5294312"/>
          </a:xfrm>
        </p:spPr>
        <p:txBody>
          <a:bodyPr anchor="ctr"/>
          <a:lstStyle>
            <a:lvl1pPr marL="457200" indent="-457200">
              <a:lnSpc>
                <a:spcPct val="110000"/>
              </a:lnSpc>
              <a:buFont typeface="+mj-lt"/>
              <a:buAutoNum type="arabicPeriod"/>
              <a:defRPr/>
            </a:lvl1pPr>
            <a:lvl2pPr marL="800100" indent="-331788">
              <a:lnSpc>
                <a:spcPct val="110000"/>
              </a:lnSpc>
              <a:buFont typeface="+mj-lt"/>
              <a:buAutoNum type="alphaLcPeriod"/>
              <a:tabLst/>
              <a:defRPr>
                <a:solidFill>
                  <a:schemeClr val="tx1"/>
                </a:solidFill>
              </a:defRPr>
            </a:lvl2pPr>
            <a:lvl3pPr marL="865188" indent="-342900">
              <a:buFont typeface="+mj-lt"/>
              <a:buAutoNum type="arabicPeriod"/>
              <a:defRPr/>
            </a:lvl3pPr>
            <a:lvl4pPr marL="1204913" indent="-342900">
              <a:buFont typeface="+mj-lt"/>
              <a:buAutoNum type="arabicPeriod"/>
              <a:defRPr/>
            </a:lvl4pPr>
            <a:lvl5pPr marL="1430338" indent="-228600">
              <a:buFont typeface="+mj-lt"/>
              <a:buAutoNum type="arabicPeriod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D955494-5A02-944E-AC47-A93918740756}"/>
              </a:ext>
            </a:extLst>
          </p:cNvPr>
          <p:cNvSpPr txBox="1">
            <a:spLocks/>
          </p:cNvSpPr>
          <p:nvPr userDrawn="1"/>
        </p:nvSpPr>
        <p:spPr>
          <a:xfrm>
            <a:off x="4606972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24041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35D506E-9CFA-5744-8CC1-366D985D6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24674" cy="9675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Master Slide Template – 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4A9B1D-8809-B740-A68B-9969B712A0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942677"/>
            <a:ext cx="10924674" cy="4234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marL="15875" lvl="1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None/>
              <a:tabLst/>
            </a:pPr>
            <a:r>
              <a:rPr lang="en-US"/>
              <a:t>Second level</a:t>
            </a:r>
          </a:p>
          <a:p>
            <a:pPr marL="287338" lvl="2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Third level</a:t>
            </a:r>
          </a:p>
          <a:p>
            <a:pPr marL="693738" lvl="3" indent="-1698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pple Symbols" panose="02000000000000000000" pitchFamily="2" charset="-79"/>
              <a:buChar char="⎼"/>
              <a:tabLst/>
            </a:pPr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A8E2B-2B06-3049-8A99-94E0B3F72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1015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bg2"/>
                </a:solidFill>
                <a:latin typeface="Trebuchet MS" panose="020B0703020202090204" pitchFamily="34" charset="0"/>
              </a:defRPr>
            </a:lvl1pPr>
          </a:lstStyle>
          <a:p>
            <a:fld id="{4BEAA09E-D67E-864E-8466-C38E88600C4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F37C4B3-C390-1B4B-9F24-930CD9AE7CA0}"/>
              </a:ext>
            </a:extLst>
          </p:cNvPr>
          <p:cNvSpPr txBox="1">
            <a:spLocks/>
          </p:cNvSpPr>
          <p:nvPr userDrawn="1"/>
        </p:nvSpPr>
        <p:spPr>
          <a:xfrm>
            <a:off x="4700337" y="6400799"/>
            <a:ext cx="2743200" cy="2914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0" i="0">
                <a:latin typeface="Trebuchet MS" panose="020B0703020202090204" pitchFamily="34" charset="0"/>
              </a:rPr>
              <a:t>Confidential – 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12149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  <p:sldLayoutId id="2147483715" r:id="rId32"/>
    <p:sldLayoutId id="2147483716" r:id="rId33"/>
    <p:sldLayoutId id="2147483717" r:id="rId34"/>
    <p:sldLayoutId id="2147483718" r:id="rId35"/>
    <p:sldLayoutId id="2147483719" r:id="rId36"/>
    <p:sldLayoutId id="2147483720" r:id="rId37"/>
    <p:sldLayoutId id="2147483721" r:id="rId38"/>
    <p:sldLayoutId id="2147483722" r:id="rId39"/>
    <p:sldLayoutId id="2147483723" r:id="rId40"/>
    <p:sldLayoutId id="2147483724" r:id="rId41"/>
    <p:sldLayoutId id="2147483725" r:id="rId42"/>
    <p:sldLayoutId id="2147483726" r:id="rId43"/>
    <p:sldLayoutId id="2147483682" r:id="rId4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800" spc="0" baseline="0">
          <a:solidFill>
            <a:schemeClr val="accent1"/>
          </a:solidFill>
          <a:latin typeface="Trebuchet MS" panose="020B0703020202090204" pitchFamily="34" charset="0"/>
          <a:ea typeface="+mj-ea"/>
          <a:cs typeface="Trebuchet MS" panose="020B0703020202090204" pitchFamily="34" charset="0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1pPr>
      <a:lvl2pPr marL="29051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800" b="0" i="1" kern="1600" spc="-50" baseline="0" dirty="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4032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6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3pPr>
      <a:lvl4pPr marL="809625" indent="-28575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lang="en-US" sz="1400" b="0" i="0" kern="1600" spc="-50" baseline="0" dirty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4pPr>
      <a:lvl5pPr marL="1376363" indent="-174625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Font typeface="Apple Symbols" panose="02000000000000000000" pitchFamily="2" charset="-79"/>
        <a:buChar char="⎼"/>
        <a:tabLst/>
        <a:defRPr sz="1200" b="0" i="0" kern="1600" spc="-50" baseline="0">
          <a:solidFill>
            <a:schemeClr val="tx1"/>
          </a:solidFill>
          <a:latin typeface="Trebuchet MS" panose="020B070302020209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5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2.png"/><Relationship Id="rId7" Type="http://schemas.openxmlformats.org/officeDocument/2006/relationships/hyperlink" Target="https://www.youtube.com/watch?v=jdNWblMzVVU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4.jpeg"/><Relationship Id="rId5" Type="http://schemas.openxmlformats.org/officeDocument/2006/relationships/hyperlink" Target="https://en.wikipedia.org/wiki/Tablet_press#/media/File:Tablet_press_animation.gif" TargetMode="External"/><Relationship Id="rId10" Type="http://schemas.openxmlformats.org/officeDocument/2006/relationships/hyperlink" Target="https://www.gerteis.com/en/technology/gerteis-concept/" TargetMode="External"/><Relationship Id="rId4" Type="http://schemas.openxmlformats.org/officeDocument/2006/relationships/image" Target="../media/image63.png"/><Relationship Id="rId9" Type="http://schemas.openxmlformats.org/officeDocument/2006/relationships/hyperlink" Target="https://www.thermofisher.com/order/catalog/product/553-1040#/553-1040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5" Type="http://schemas.openxmlformats.org/officeDocument/2006/relationships/image" Target="../media/image37.png"/><Relationship Id="rId2" Type="http://schemas.openxmlformats.org/officeDocument/2006/relationships/image" Target="../media/image14.png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29" Type="http://schemas.openxmlformats.org/officeDocument/2006/relationships/image" Target="../media/image4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24" Type="http://schemas.openxmlformats.org/officeDocument/2006/relationships/image" Target="../media/image36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31" Type="http://schemas.openxmlformats.org/officeDocument/2006/relationships/image" Target="../media/image43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Relationship Id="rId22" Type="http://schemas.openxmlformats.org/officeDocument/2006/relationships/image" Target="../media/image3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02D6D-3A58-49B8-8333-21FB3EC4A3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Georgia" panose="02040502050405020303" pitchFamily="18" charset="0"/>
              </a:rPr>
              <a:t>Alumni presentation: </a:t>
            </a:r>
            <a:br>
              <a:rPr lang="en-US">
                <a:latin typeface="Georgia" panose="02040502050405020303" pitchFamily="18" charset="0"/>
              </a:rPr>
            </a:br>
            <a:r>
              <a:rPr lang="en-US">
                <a:latin typeface="Georgia" panose="02040502050405020303" pitchFamily="18" charset="0"/>
              </a:rPr>
              <a:t>Gilead Sciences, Inc.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0909D4-D760-4AA5-8FC4-EAE5BF1F09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sz="1600">
              <a:latin typeface="Georgia" panose="02040502050405020303" pitchFamily="18" charset="0"/>
            </a:endParaRPr>
          </a:p>
          <a:p>
            <a:r>
              <a:rPr lang="en-US" sz="1600">
                <a:latin typeface="Georgia"/>
              </a:rPr>
              <a:t>Casey Hurley, Senior Research Associate I</a:t>
            </a:r>
          </a:p>
          <a:p>
            <a:r>
              <a:rPr lang="en-US" sz="1600">
                <a:latin typeface="Georgia"/>
              </a:rPr>
              <a:t>Marisa Thierheimer, Research Associate</a:t>
            </a:r>
            <a:endParaRPr lang="en-US">
              <a:latin typeface="Georgia"/>
            </a:endParaRPr>
          </a:p>
          <a:p>
            <a:endParaRPr lang="en-US" sz="1600" b="1">
              <a:latin typeface="Georgia" panose="02040502050405020303" pitchFamily="18" charset="0"/>
            </a:endParaRPr>
          </a:p>
          <a:p>
            <a:r>
              <a:rPr lang="en-US" sz="1600" b="1">
                <a:latin typeface="Georgia" panose="02040502050405020303" pitchFamily="18" charset="0"/>
              </a:rPr>
              <a:t>Formulation &amp; Process Development</a:t>
            </a:r>
          </a:p>
        </p:txBody>
      </p:sp>
    </p:spTree>
    <p:extLst>
      <p:ext uri="{BB962C8B-B14F-4D97-AF65-F5344CB8AC3E}">
        <p14:creationId xmlns:p14="http://schemas.microsoft.com/office/powerpoint/2010/main" val="2722049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6FF94-96EF-7C40-B83E-1D38B035A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racterizing a Small-Molecule Drug (Preformulation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7DE502-7BF3-3344-A1D9-370FA37560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184401-BA19-4025-917B-C6C98A5F45D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409"/>
          <a:stretch/>
        </p:blipFill>
        <p:spPr>
          <a:xfrm>
            <a:off x="6096000" y="1676400"/>
            <a:ext cx="5372892" cy="4543453"/>
          </a:xfrm>
          <a:prstGeom prst="rect">
            <a:avLst/>
          </a:prstGeom>
        </p:spPr>
      </p:pic>
      <p:pic>
        <p:nvPicPr>
          <p:cNvPr id="63490" name="Picture 2" descr="Caco-2 Permeability - Creative Biolabs">
            <a:extLst>
              <a:ext uri="{FF2B5EF4-FFF2-40B4-BE49-F238E27FC236}">
                <a16:creationId xmlns:a16="http://schemas.microsoft.com/office/drawing/2014/main" id="{4F759D5B-5D49-4B33-A0B8-9127FA703A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50" t="12295" r="15167"/>
          <a:stretch/>
        </p:blipFill>
        <p:spPr bwMode="auto">
          <a:xfrm>
            <a:off x="723108" y="4254859"/>
            <a:ext cx="4634800" cy="196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492" name="Picture 4" descr="Partitioning (logP or logD)—are you using/measuring the right descriptor? -  ACD/Labs Blog">
            <a:extLst>
              <a:ext uri="{FF2B5EF4-FFF2-40B4-BE49-F238E27FC236}">
                <a16:creationId xmlns:a16="http://schemas.microsoft.com/office/drawing/2014/main" id="{55A44704-88B0-4CDF-92B0-39A9C67D56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" t="1687" r="1215" b="6573"/>
          <a:stretch/>
        </p:blipFill>
        <p:spPr bwMode="auto">
          <a:xfrm>
            <a:off x="676579" y="1676400"/>
            <a:ext cx="4634799" cy="2160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1154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6FF94-96EF-7C40-B83E-1D38B035A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rm Selection</a:t>
            </a:r>
          </a:p>
        </p:txBody>
      </p:sp>
      <p:pic>
        <p:nvPicPr>
          <p:cNvPr id="9" name="Picture 2" descr="Solid State Chemistry Ebook | Lecteur Ebook Apk">
            <a:extLst>
              <a:ext uri="{FF2B5EF4-FFF2-40B4-BE49-F238E27FC236}">
                <a16:creationId xmlns:a16="http://schemas.microsoft.com/office/drawing/2014/main" id="{FB2ED9AB-F539-492D-882C-22882BE6E470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4" y="1474365"/>
            <a:ext cx="5340713" cy="296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7DE502-7BF3-3344-A1D9-370FA37560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3E50544-4E42-A74E-B8E1-C9AF9EC0F7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72645" y="1830917"/>
            <a:ext cx="6596800" cy="422952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Work with crystallization group to select a solid form of the drug for clinical trials and eventually commercial</a:t>
            </a:r>
            <a:endParaRPr lang="en-US"/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>
                <a:latin typeface="Trebuchet MS"/>
              </a:rPr>
              <a:t>Amorphous</a:t>
            </a:r>
            <a:endParaRPr lang="en-US" sz="2000"/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>
                <a:latin typeface="Trebuchet MS"/>
              </a:rPr>
              <a:t>Crystalline</a:t>
            </a:r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/>
              <a:t>Salt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/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Form characterization</a:t>
            </a:r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>
                <a:latin typeface="Trebuchet MS"/>
              </a:rPr>
              <a:t>Solubility at physiological pH</a:t>
            </a:r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>
                <a:latin typeface="Trebuchet MS"/>
              </a:rPr>
              <a:t>Pharmacokinetic properties</a:t>
            </a:r>
          </a:p>
          <a:p>
            <a:pPr marL="629920" lvl="2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54565B"/>
                </a:solidFill>
                <a:latin typeface="Trebuchet MS"/>
              </a:rPr>
              <a:t>Solution and solid-state stability</a:t>
            </a:r>
          </a:p>
        </p:txBody>
      </p:sp>
      <p:pic>
        <p:nvPicPr>
          <p:cNvPr id="3" name="Picture 4" descr="Diagram&#10;&#10;Description automatically generated">
            <a:extLst>
              <a:ext uri="{FF2B5EF4-FFF2-40B4-BE49-F238E27FC236}">
                <a16:creationId xmlns:a16="http://schemas.microsoft.com/office/drawing/2014/main" id="{7CD66484-EF36-4A54-B9FC-39A02420D6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825" y="4333078"/>
            <a:ext cx="3797473" cy="2241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531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16" y="365126"/>
            <a:ext cx="10972800" cy="844460"/>
          </a:xfrm>
        </p:spPr>
        <p:txBody>
          <a:bodyPr/>
          <a:lstStyle/>
          <a:p>
            <a:r>
              <a:rPr lang="en-US"/>
              <a:t>Development for Clinical Trials &amp; Commercial Use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438183"/>
            <a:ext cx="5399951" cy="473401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00000"/>
              </a:lnSpc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Tablet Formulation</a:t>
            </a:r>
          </a:p>
          <a:p>
            <a:pPr marL="630238" lvl="2" indent="-342900">
              <a:lnSpc>
                <a:spcPct val="10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Inactive ingredients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Filler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Disintegrant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Lubricant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Coating</a:t>
            </a:r>
          </a:p>
          <a:p>
            <a:pPr marL="630238" lvl="2" indent="-342900">
              <a:lnSpc>
                <a:spcPct val="10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Manufacturing processes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Granulation (dry vs wet)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Compression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Coating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Spray-drying</a:t>
            </a:r>
          </a:p>
          <a:p>
            <a:pPr marL="1036638" lvl="3" indent="-342900">
              <a:lnSpc>
                <a:spcPct val="100000"/>
              </a:lnSpc>
              <a:spcAft>
                <a:spcPts val="1000"/>
              </a:spcAft>
              <a:buFont typeface="Trebuchet MS" panose="020B0603020202020204" pitchFamily="34" charset="0"/>
              <a:buChar char="◦"/>
            </a:pPr>
            <a:r>
              <a:rPr lang="en-US">
                <a:latin typeface="Trebuchet MS"/>
              </a:rPr>
              <a:t>Hot melt extru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C4BF5E6-84D0-4D42-A98D-67E529ED1EC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50365" y="1438183"/>
            <a:ext cx="5399951" cy="473401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/>
              <a:t>Long-Acting Formulation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Polymers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Low solubility forms</a:t>
            </a:r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/>
              <a:t>Liquid Formulation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Emulsion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Suspension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Solution</a:t>
            </a:r>
            <a:endParaRPr lang="en-US"/>
          </a:p>
          <a:p>
            <a:pPr marL="342900" indent="-342900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en-US"/>
              <a:t>Routes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Oral (PO)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Subcutaneous (SC)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Intramuscular (IM)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Intravenous (IV)</a:t>
            </a:r>
          </a:p>
          <a:p>
            <a:pPr marL="629920" lvl="2" indent="-34290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/>
              <a:t>Inhalation</a:t>
            </a:r>
          </a:p>
          <a:p>
            <a:pPr>
              <a:lnSpc>
                <a:spcPct val="10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203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D47AE12-6607-4A56-B48C-09C835870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Tablet Manufacturing</a:t>
            </a:r>
          </a:p>
        </p:txBody>
      </p:sp>
      <p:pic>
        <p:nvPicPr>
          <p:cNvPr id="10" name="Content Placeholder 18">
            <a:extLst>
              <a:ext uri="{FF2B5EF4-FFF2-40B4-BE49-F238E27FC236}">
                <a16:creationId xmlns:a16="http://schemas.microsoft.com/office/drawing/2014/main" id="{4B542759-4C31-4AD9-9829-9411A5C5BB22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3538984" y="1220182"/>
            <a:ext cx="3049284" cy="466945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A93F79-F795-40FE-AA2D-27D95FFA0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9" name="Content Placeholder 13">
            <a:extLst>
              <a:ext uri="{FF2B5EF4-FFF2-40B4-BE49-F238E27FC236}">
                <a16:creationId xmlns:a16="http://schemas.microsoft.com/office/drawing/2014/main" id="{3178759A-F169-4535-A1EA-1B7F9A62AA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14" t="2024" r="3189" b="2688"/>
          <a:stretch/>
        </p:blipFill>
        <p:spPr>
          <a:xfrm>
            <a:off x="284404" y="1220182"/>
            <a:ext cx="2833974" cy="466945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Content Placeholder 22">
            <a:extLst>
              <a:ext uri="{FF2B5EF4-FFF2-40B4-BE49-F238E27FC236}">
                <a16:creationId xmlns:a16="http://schemas.microsoft.com/office/drawing/2014/main" id="{27063D6C-CA9F-410A-B32F-7A19375DB6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3110" y="107610"/>
            <a:ext cx="2451482" cy="21339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4F585B7-3720-420E-BF67-B6450812B19A}"/>
              </a:ext>
            </a:extLst>
          </p:cNvPr>
          <p:cNvSpPr/>
          <p:nvPr/>
        </p:nvSpPr>
        <p:spPr>
          <a:xfrm>
            <a:off x="280898" y="5940902"/>
            <a:ext cx="2833973" cy="360255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tary Tablet Press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Picture 4" descr="Mini Spray Dryer B-290 | buchi.com">
            <a:extLst>
              <a:ext uri="{FF2B5EF4-FFF2-40B4-BE49-F238E27FC236}">
                <a16:creationId xmlns:a16="http://schemas.microsoft.com/office/drawing/2014/main" id="{077A99AF-727F-44B4-A766-786079E81B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2" r="21534"/>
          <a:stretch/>
        </p:blipFill>
        <p:spPr bwMode="auto">
          <a:xfrm>
            <a:off x="7344076" y="107611"/>
            <a:ext cx="1685857" cy="21339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08BAA104-B940-47B5-B767-F6205F566D9A}"/>
              </a:ext>
            </a:extLst>
          </p:cNvPr>
          <p:cNvSpPr/>
          <p:nvPr/>
        </p:nvSpPr>
        <p:spPr>
          <a:xfrm>
            <a:off x="7344076" y="2313374"/>
            <a:ext cx="4220516" cy="287098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sng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ray Dri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D23C55-221F-4BFC-81AB-CBD49FF0D4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08874" y="2710823"/>
            <a:ext cx="4902228" cy="361746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55B5E3C-03A6-4CAD-8ABA-8A043A351638}"/>
              </a:ext>
            </a:extLst>
          </p:cNvPr>
          <p:cNvSpPr/>
          <p:nvPr/>
        </p:nvSpPr>
        <p:spPr>
          <a:xfrm>
            <a:off x="7008874" y="6370776"/>
            <a:ext cx="4902228" cy="351538"/>
          </a:xfrm>
          <a:prstGeom prst="rect">
            <a:avLst/>
          </a:prstGeom>
          <a:noFill/>
          <a:ln>
            <a:noFill/>
          </a:ln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t Melt Extrude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0012B3-C1C5-4A7D-B419-AEF2540A1CA3}"/>
              </a:ext>
            </a:extLst>
          </p:cNvPr>
          <p:cNvSpPr/>
          <p:nvPr/>
        </p:nvSpPr>
        <p:spPr>
          <a:xfrm>
            <a:off x="3535477" y="5940901"/>
            <a:ext cx="3049283" cy="360255"/>
          </a:xfrm>
          <a:prstGeom prst="rect">
            <a:avLst/>
          </a:prstGeom>
          <a:noFill/>
          <a:ln>
            <a:noFill/>
          </a:ln>
        </p:spPr>
        <p:txBody>
          <a:bodyPr wrap="square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ller Compactor (Dry Granulation)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580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Trebuchet MS" panose="020B0603020202020204" pitchFamily="34" charset="0"/>
              </a:rPr>
              <a:t>FPD Involvement in Commercialization of the Drug Product</a:t>
            </a:r>
            <a:endParaRPr lang="en-US" sz="4000">
              <a:latin typeface="Trebuchet MS" panose="020B0603020202020204" pitchFamily="34" charset="0"/>
            </a:endParaRP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713297"/>
            <a:ext cx="10972800" cy="445890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4572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Final formulation and manufacturing process selection</a:t>
            </a:r>
            <a:endParaRPr lang="en-US" sz="3200"/>
          </a:p>
          <a:p>
            <a:pPr marL="860425" lvl="2" indent="-285750">
              <a:lnSpc>
                <a:spcPct val="150000"/>
              </a:lnSpc>
              <a:buFont typeface="Trebuchet MS" panose="020B0603020202020204" pitchFamily="34" charset="0"/>
              <a:buChar char="−"/>
            </a:pPr>
            <a:r>
              <a:rPr lang="en-US" sz="2000">
                <a:latin typeface="Trebuchet MS"/>
              </a:rPr>
              <a:t>DOE studies: select compaction &amp; compression parameters, final commercial formulation</a:t>
            </a:r>
          </a:p>
          <a:p>
            <a:pPr marL="860425" lvl="2" indent="-285750">
              <a:lnSpc>
                <a:spcPct val="150000"/>
              </a:lnSpc>
              <a:buFont typeface="Trebuchet MS" panose="020B0603020202020204" pitchFamily="34" charset="0"/>
              <a:buChar char="−"/>
            </a:pPr>
            <a:r>
              <a:rPr lang="en-US" sz="2000">
                <a:latin typeface="Trebuchet MS"/>
              </a:rPr>
              <a:t>Qualification of testing methods</a:t>
            </a:r>
          </a:p>
          <a:p>
            <a:pPr marL="4572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Tech transfer to commercial manufacturing group</a:t>
            </a:r>
          </a:p>
          <a:p>
            <a:pPr marL="4572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Batch release testing development support</a:t>
            </a:r>
          </a:p>
          <a:p>
            <a:pPr marL="4572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Regulatory filings</a:t>
            </a:r>
          </a:p>
          <a:p>
            <a:pPr marL="457200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Investigations</a:t>
            </a:r>
            <a:endParaRPr lang="en-US" sz="2000"/>
          </a:p>
          <a:p>
            <a:pPr marL="342900" indent="-342900">
              <a:lnSpc>
                <a:spcPct val="150000"/>
              </a:lnSpc>
              <a:buFont typeface="Arial"/>
              <a:buChar char="•"/>
            </a:pPr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61442" name="Picture 2" descr="Pharmaceutical and Veterinary Tablets - Medical Products Laboratories, Inc.">
            <a:extLst>
              <a:ext uri="{FF2B5EF4-FFF2-40B4-BE49-F238E27FC236}">
                <a16:creationId xmlns:a16="http://schemas.microsoft.com/office/drawing/2014/main" id="{54761B7F-C222-48F0-B295-FFFFF94594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015" y="3532333"/>
            <a:ext cx="3531207" cy="263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4285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Trebuchet MS" panose="020B0603020202020204" pitchFamily="34" charset="0"/>
              </a:rPr>
              <a:t>Report Writing</a:t>
            </a:r>
            <a:endParaRPr lang="en-US" sz="4000">
              <a:latin typeface="Trebuchet MS" panose="020B0603020202020204" pitchFamily="34" charset="0"/>
            </a:endParaRP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78544"/>
            <a:ext cx="10972800" cy="459365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200000"/>
              </a:lnSpc>
              <a:spcAft>
                <a:spcPts val="600"/>
              </a:spcAft>
            </a:pPr>
            <a:r>
              <a:rPr lang="en-US" sz="2400" u="sng">
                <a:latin typeface="Trebuchet MS"/>
              </a:rPr>
              <a:t>Types of Reports:</a:t>
            </a:r>
            <a:endParaRPr lang="en-US" sz="2400"/>
          </a:p>
          <a:p>
            <a:pPr marL="571500" indent="-4572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400" err="1">
                <a:latin typeface="Trebuchet MS"/>
              </a:rPr>
              <a:t>Preformulation</a:t>
            </a:r>
            <a:endParaRPr lang="en-US" sz="2400">
              <a:latin typeface="Trebuchet MS"/>
            </a:endParaRPr>
          </a:p>
          <a:p>
            <a:pPr marL="571500" indent="-457200">
              <a:lnSpc>
                <a:spcPct val="2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IND (Investigational New Drug) application</a:t>
            </a:r>
          </a:p>
          <a:p>
            <a:pPr marL="571500" indent="-457200">
              <a:lnSpc>
                <a:spcPct val="2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Manufacturing</a:t>
            </a:r>
          </a:p>
          <a:p>
            <a:pPr marL="571500" indent="-45720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sz="2400">
                <a:latin typeface="Trebuchet MS"/>
              </a:rPr>
              <a:t>NDA (New Drug Application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62466" name="Picture 2" descr="Safety, Pharmacokinetics, and Pharmacodynamics of the Autotaxin Inhibitor  GLPG1690 in Healthy Subjects: Phase 1 Randomized Trials - der Aar - 2019 -  The Journal of Clinical Pharmacology - Wiley Online Library">
            <a:extLst>
              <a:ext uri="{FF2B5EF4-FFF2-40B4-BE49-F238E27FC236}">
                <a16:creationId xmlns:a16="http://schemas.microsoft.com/office/drawing/2014/main" id="{CFB729B3-F46A-4001-BB1C-3F61965F4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267" y="2397759"/>
            <a:ext cx="3493394" cy="400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8A670A5-2683-44D1-B2C3-2743E73DC9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3243" y="444817"/>
            <a:ext cx="3292200" cy="2767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00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69F3A-AD57-4C73-B1E4-0F8173247F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pPr algn="l"/>
            <a:r>
              <a:rPr lang="en-US">
                <a:latin typeface="Trebuchet MS" panose="020B0603020202020204" pitchFamily="34" charset="0"/>
              </a:rPr>
              <a:t>Case study: Nitrosamine Risk Assessment Task For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AA5283-31C8-4C26-9023-0006875BAC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352144"/>
            <a:ext cx="10972800" cy="4952402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Regulatory agencies are requiring all pharmaceutical companies to complete nitrosamine risk assessments of their commercial </a:t>
            </a:r>
            <a:r>
              <a:rPr lang="en-US" sz="1800" err="1"/>
              <a:t>API</a:t>
            </a:r>
            <a:r>
              <a:rPr lang="en-US" sz="1800" baseline="30000" err="1"/>
              <a:t>a</a:t>
            </a:r>
            <a:r>
              <a:rPr lang="en-US" sz="1800"/>
              <a:t> and drug product by March 2021 due to recent recalls</a:t>
            </a:r>
          </a:p>
          <a:p>
            <a:pPr marL="630238" lvl="2" indent="-342900">
              <a:buFont typeface="Wingdings" panose="05000000000000000000" pitchFamily="2" charset="2"/>
              <a:buChar char="Ø"/>
            </a:pPr>
            <a:r>
              <a:rPr lang="en-US" sz="1400"/>
              <a:t>Nitrosamines (a group of compounds identified as potential carcinogens) are caused by the reaction between 2</a:t>
            </a:r>
            <a:r>
              <a:rPr lang="en-US" sz="1400" baseline="30000"/>
              <a:t>o</a:t>
            </a:r>
            <a:r>
              <a:rPr lang="en-US" sz="1400"/>
              <a:t>/3</a:t>
            </a:r>
            <a:r>
              <a:rPr lang="en-US" sz="1400" baseline="30000"/>
              <a:t>o</a:t>
            </a:r>
            <a:r>
              <a:rPr lang="en-US" sz="1400"/>
              <a:t> amines and nitrites in an acidic environment (below pH 5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Stressing analytical methods to limit due to low acceptable intake (AI) starting as low as 18 ng/day</a:t>
            </a:r>
          </a:p>
          <a:p>
            <a:pPr marL="630238" lvl="2" indent="-342900">
              <a:buFont typeface="Arial" panose="020B0604020202020204" pitchFamily="34" charset="0"/>
              <a:buChar char="•"/>
            </a:pPr>
            <a:r>
              <a:rPr lang="en-US" sz="1400"/>
              <a:t>Required to be below 10% AI to avoid batch release testing</a:t>
            </a:r>
          </a:p>
          <a:p>
            <a:pPr marL="630238" lvl="2" indent="-342900">
              <a:buFont typeface="Arial" panose="020B0604020202020204" pitchFamily="34" charset="0"/>
              <a:buChar char="•"/>
            </a:pPr>
            <a:r>
              <a:rPr lang="en-US" sz="1400"/>
              <a:t>Measuring on ng/g or </a:t>
            </a:r>
            <a:r>
              <a:rPr lang="en-US" sz="1400" err="1"/>
              <a:t>ppb</a:t>
            </a:r>
            <a:r>
              <a:rPr lang="en-US" sz="1400" baseline="30000" err="1"/>
              <a:t>b</a:t>
            </a:r>
            <a:r>
              <a:rPr lang="en-US" sz="1400"/>
              <a:t> scale when most instruments LC/MS and GC/MS are suited for </a:t>
            </a:r>
            <a:r>
              <a:rPr lang="el-GR" sz="1400"/>
              <a:t>μ</a:t>
            </a:r>
            <a:r>
              <a:rPr lang="en-US" sz="1400"/>
              <a:t>g/g or </a:t>
            </a:r>
            <a:r>
              <a:rPr lang="en-US" sz="1400" err="1"/>
              <a:t>ppm</a:t>
            </a:r>
            <a:r>
              <a:rPr lang="en-US" sz="1400" baseline="30000" err="1"/>
              <a:t>b</a:t>
            </a:r>
            <a:r>
              <a:rPr lang="en-US" sz="1400"/>
              <a:t> level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Using theoretical purge factors of unspecified impurities and mathematical models to predict the amount of nitrosamine at the end of drug product shelf-life (tied into thesi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Team: employees from process chemistry, quality assurance, chemical outsourcing, nonclinical safety &amp; pathobiology, regulatory affairs, analytical chemistry, packaging, FP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Pandemic impact: zoom meetings, more email conversations, and slight delay in lab work depending on when personnel will be on-sit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u="sng"/>
              <a:t>Lessons learned:</a:t>
            </a:r>
            <a:r>
              <a:rPr lang="en-US" sz="1800"/>
              <a:t> always strive to continually learn and think creatively</a:t>
            </a:r>
          </a:p>
          <a:p>
            <a:pPr marL="342900" indent="-342900">
              <a:spcAft>
                <a:spcPts val="0"/>
              </a:spcAft>
              <a:buFont typeface="+mj-lt"/>
              <a:buAutoNum type="alphaLcParenR"/>
            </a:pPr>
            <a:r>
              <a:rPr lang="en-US" sz="900"/>
              <a:t>Active pharmaceutical ingredient</a:t>
            </a:r>
          </a:p>
          <a:p>
            <a:pPr marL="342900" indent="-342900">
              <a:spcAft>
                <a:spcPts val="0"/>
              </a:spcAft>
              <a:buFont typeface="+mj-lt"/>
              <a:buAutoNum type="alphaLcParenR"/>
            </a:pPr>
            <a:r>
              <a:rPr lang="en-US" sz="900"/>
              <a:t>Parts per billion and parts per million</a:t>
            </a:r>
            <a:endParaRPr lang="en-US" sz="1800"/>
          </a:p>
        </p:txBody>
      </p:sp>
      <p:pic>
        <p:nvPicPr>
          <p:cNvPr id="2050" name="Picture 2" descr="Nitrosamine - Wikipedia">
            <a:extLst>
              <a:ext uri="{FF2B5EF4-FFF2-40B4-BE49-F238E27FC236}">
                <a16:creationId xmlns:a16="http://schemas.microsoft.com/office/drawing/2014/main" id="{54AF140F-2FCD-4442-B729-D7845B1207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5477" y="177062"/>
            <a:ext cx="964400" cy="987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24219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DDD2E-6FAC-48C9-970E-130474194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000">
                <a:latin typeface="Trebuchet MS" panose="020B0603020202020204" pitchFamily="34" charset="0"/>
              </a:rPr>
              <a:t>Case study: an international collaboration in the midst of a global pandemi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16D2CF-1C27-45A8-B691-6F828CE70CF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759193"/>
            <a:ext cx="10972800" cy="441300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Gilead opted into a Phase III clinical molecule discovered by Galapagos NV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Task: develop a robust commercial formulation and prove that it is bioequivalent to the clinical formulation </a:t>
            </a:r>
            <a:endParaRPr lang="en-US"/>
          </a:p>
          <a:p>
            <a:pPr marL="979170" lvl="3" indent="-285750">
              <a:buFont typeface="Arial" panose="020B0604020202020204" pitchFamily="34" charset="0"/>
              <a:buChar char="•"/>
            </a:pPr>
            <a:r>
              <a:rPr lang="en-US" sz="1700">
                <a:latin typeface="Trebuchet MS"/>
              </a:rPr>
              <a:t>Minimize tablet size while considering drug load in formulation (requirement to develop three strengths)</a:t>
            </a:r>
          </a:p>
          <a:p>
            <a:pPr marL="979170" lvl="3" indent="-285750">
              <a:buFont typeface="Arial" panose="020B0604020202020204" pitchFamily="34" charset="0"/>
              <a:buChar char="•"/>
            </a:pPr>
            <a:r>
              <a:rPr lang="en-US" sz="1700">
                <a:solidFill>
                  <a:schemeClr val="tx1"/>
                </a:solidFill>
              </a:rPr>
              <a:t>Perform dissolution experiments, conduct pharmacokinetic crossover studies using hand-pressed tablets</a:t>
            </a:r>
          </a:p>
          <a:p>
            <a:pPr marL="979170" lvl="3" indent="-285750">
              <a:buFont typeface="Arial" panose="020B0604020202020204" pitchFamily="34" charset="0"/>
              <a:buChar char="•"/>
            </a:pPr>
            <a:r>
              <a:rPr lang="en-US" sz="1700">
                <a:latin typeface="Trebuchet MS"/>
              </a:rPr>
              <a:t>Plan, oversee, analyze results from development studies in Europe</a:t>
            </a:r>
            <a:endParaRPr lang="en-US" sz="170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Team: two scientists from GSI FPD, two from GSI AO, three from GLPG team</a:t>
            </a:r>
            <a:endParaRPr lang="en-US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Pandemic impact: calls at odd times instead of travel to manufacturing site, more conscious of time spent in lab, increased strain on deliverable schedules</a:t>
            </a:r>
            <a:endParaRPr lang="en-US">
              <a:cs typeface="Calibri" panose="020F0502020204030204"/>
            </a:endParaRPr>
          </a:p>
          <a:p>
            <a:pPr marL="342900" indent="-342900">
              <a:buClr>
                <a:schemeClr val="tx1"/>
              </a:buClr>
              <a:buFont typeface="Wingdings" panose="05000000000000000000" pitchFamily="2" charset="2"/>
              <a:buChar char="Ø"/>
            </a:pPr>
            <a:r>
              <a:rPr lang="en-US" u="sng">
                <a:latin typeface="Trebuchet MS"/>
                <a:cs typeface="Calibri" panose="020F0502020204030204"/>
              </a:rPr>
              <a:t>Lessons learned:</a:t>
            </a:r>
            <a:r>
              <a:rPr lang="en-US">
                <a:latin typeface="Trebuchet MS"/>
                <a:cs typeface="Calibri" panose="020F0502020204030204"/>
              </a:rPr>
              <a:t> be open-minded about different ways of doing things, rapidly-changing circumstances call for flexibility, hard work pays off (even if it's not in the ways we expected)</a:t>
            </a:r>
          </a:p>
        </p:txBody>
      </p:sp>
      <p:pic>
        <p:nvPicPr>
          <p:cNvPr id="67586" name="Picture 2" descr="Through Gilead, Galapagos secures an independent future | Evaluate">
            <a:extLst>
              <a:ext uri="{FF2B5EF4-FFF2-40B4-BE49-F238E27FC236}">
                <a16:creationId xmlns:a16="http://schemas.microsoft.com/office/drawing/2014/main" id="{46245415-5B1C-48E3-AD9E-E5EF8A09F8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t="29898" r="26584" b="27283"/>
          <a:stretch/>
        </p:blipFill>
        <p:spPr bwMode="auto">
          <a:xfrm>
            <a:off x="8737600" y="1015103"/>
            <a:ext cx="3342640" cy="683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71067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920F5-BBC1-4E27-9AF8-5FC67E69C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>
                <a:latin typeface="Trebuchet MS" panose="020B0603020202020204" pitchFamily="34" charset="0"/>
              </a:rPr>
              <a:t>Career Adv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A33F3E-BD19-4A29-8A37-698D58A181A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88169"/>
            <a:ext cx="10972800" cy="4735630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  <a:ea typeface="+mn-lt"/>
                <a:cs typeface="+mn-lt"/>
              </a:rPr>
              <a:t>Don’t be afraid to network! We are living proof that it works. </a:t>
            </a:r>
            <a:r>
              <a:rPr lang="en-US" sz="1800">
                <a:latin typeface="Trebuchet MS"/>
                <a:ea typeface="+mn-lt"/>
                <a:cs typeface="+mn-lt"/>
                <a:sym typeface="Wingdings" panose="05000000000000000000" pitchFamily="2" charset="2"/>
              </a:rPr>
              <a:t></a:t>
            </a:r>
            <a:endParaRPr lang="en-US" sz="1800">
              <a:latin typeface="Trebuchet MS"/>
              <a:ea typeface="+mn-lt"/>
              <a:cs typeface="+mn-lt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  <a:ea typeface="+mn-lt"/>
                <a:cs typeface="+mn-lt"/>
              </a:rPr>
              <a:t>You will receive on-the-job training</a:t>
            </a:r>
          </a:p>
          <a:p>
            <a:pPr marL="1036320" lvl="3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Trebuchet MS"/>
                <a:ea typeface="+mn-lt"/>
                <a:cs typeface="+mn-lt"/>
              </a:rPr>
              <a:t>There is always a learning curve, but it is made easier by background knowledge from school/internships</a:t>
            </a:r>
          </a:p>
          <a:p>
            <a:pPr marL="1036320" lvl="3" indent="-34290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No need to “study” for your new job (but maybe a little for the interview)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  <a:ea typeface="+mn-lt"/>
                <a:cs typeface="+mn-lt"/>
              </a:rPr>
              <a:t>Stay in contact with your professors, advisors, mentors – they will become your references, connections, letters of recommendation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  <a:ea typeface="+mn-lt"/>
                <a:cs typeface="+mn-lt"/>
              </a:rPr>
              <a:t>Internships and research help build resume when you don’t have work experience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</a:rPr>
              <a:t>Good communication with manager and team about prioritization of tasks can help with work/life balance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en-US" sz="1800">
                <a:latin typeface="Trebuchet MS"/>
              </a:rPr>
              <a:t>The more exposure you get, the more recognition and opportunities you will receive (the pieces of PIE – 10% performance, 30% image, 60% exposure)</a:t>
            </a:r>
          </a:p>
        </p:txBody>
      </p:sp>
      <p:pic>
        <p:nvPicPr>
          <p:cNvPr id="66566" name="Picture 6" descr="linkedin-logo-copy - FPSA">
            <a:extLst>
              <a:ext uri="{FF2B5EF4-FFF2-40B4-BE49-F238E27FC236}">
                <a16:creationId xmlns:a16="http://schemas.microsoft.com/office/drawing/2014/main" id="{72E285C4-CE0E-4938-BA71-0E489E75B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0" y="1040163"/>
            <a:ext cx="1096010" cy="1096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90064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E40F633-0CEA-419A-97ED-30B95AA629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30CC4F0-C713-41A7-93C1-8566E3E80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311212-BB59-4BAE-ACF5-47A5E43A9E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687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1852602-9FFF-4631-9D97-9A5A2208CF14}"/>
              </a:ext>
            </a:extLst>
          </p:cNvPr>
          <p:cNvSpPr txBox="1"/>
          <p:nvPr/>
        </p:nvSpPr>
        <p:spPr>
          <a:xfrm>
            <a:off x="0" y="3028891"/>
            <a:ext cx="12192000" cy="8002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600" b="1" i="0" u="none" strike="noStrike" kern="1200" cap="none" spc="3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8952114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sey’s Background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43050"/>
            <a:ext cx="10972800" cy="4629151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Senior Research Associate I, </a:t>
            </a:r>
            <a:r>
              <a:rPr lang="en-US" sz="1800" err="1"/>
              <a:t>FPD</a:t>
            </a:r>
            <a:r>
              <a:rPr lang="en-US" sz="1800" baseline="30000" err="1"/>
              <a:t>a</a:t>
            </a:r>
            <a:r>
              <a:rPr lang="en-US" sz="1800"/>
              <a:t> at </a:t>
            </a:r>
            <a:r>
              <a:rPr lang="en-US" sz="1800" err="1"/>
              <a:t>GSI</a:t>
            </a:r>
            <a:r>
              <a:rPr lang="en-US" sz="1800" baseline="30000" err="1"/>
              <a:t>b</a:t>
            </a:r>
            <a:r>
              <a:rPr lang="en-US" sz="1800"/>
              <a:t> (started June 2016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Masters student at </a:t>
            </a:r>
            <a:r>
              <a:rPr lang="en-US" sz="1800" err="1"/>
              <a:t>KU</a:t>
            </a:r>
            <a:r>
              <a:rPr lang="en-US" sz="1800" baseline="30000" err="1"/>
              <a:t>c</a:t>
            </a:r>
            <a:r>
              <a:rPr lang="en-US" sz="1800"/>
              <a:t> studying Pharmaceutical Chemistry (expected graduation: May 2023)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Thesis: Kinetic evaluation of nitrosamine formation in solid drug product</a:t>
            </a:r>
            <a:endParaRPr lang="en-US" sz="120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Honors B.S. in Bioengineering with a minor in Chemistry (graduated June 2016)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Honors thesis: Formation and migration of breast cancer spheroids (Dr. Bo Sun, Biochemistry/Biophysics dept., OSU)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Senior project: Tablet driven microfluidic platform for cell counting (Dr. </a:t>
            </a:r>
            <a:r>
              <a:rPr lang="en-US" sz="1200" err="1">
                <a:solidFill>
                  <a:srgbClr val="54565B"/>
                </a:solidFill>
              </a:rPr>
              <a:t>Minish</a:t>
            </a:r>
            <a:r>
              <a:rPr lang="en-US" sz="1200">
                <a:solidFill>
                  <a:srgbClr val="54565B"/>
                </a:solidFill>
              </a:rPr>
              <a:t> </a:t>
            </a:r>
            <a:r>
              <a:rPr lang="en-US" sz="1200" err="1">
                <a:solidFill>
                  <a:srgbClr val="54565B"/>
                </a:solidFill>
              </a:rPr>
              <a:t>Giri</a:t>
            </a:r>
            <a:r>
              <a:rPr lang="en-US" sz="1200">
                <a:solidFill>
                  <a:srgbClr val="54565B"/>
                </a:solidFill>
              </a:rPr>
              <a:t>, HP, Corvallis, Oregon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7 years of research experience in various fields: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The Hoffman Lab with Dr. Angela Hoffman, Chemistry dept., UP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54565B"/>
                </a:solidFill>
              </a:rPr>
              <a:t>Project: Medicinal properties of </a:t>
            </a:r>
            <a:r>
              <a:rPr lang="en-US" sz="1100" i="1" err="1">
                <a:solidFill>
                  <a:srgbClr val="54565B"/>
                </a:solidFill>
              </a:rPr>
              <a:t>Holodiscus</a:t>
            </a:r>
            <a:r>
              <a:rPr lang="en-US" sz="1100" i="1">
                <a:solidFill>
                  <a:srgbClr val="54565B"/>
                </a:solidFill>
              </a:rPr>
              <a:t> discolor</a:t>
            </a:r>
            <a:endParaRPr lang="en-US" sz="1100">
              <a:solidFill>
                <a:srgbClr val="54565B"/>
              </a:solidFill>
            </a:endParaRPr>
          </a:p>
          <a:p>
            <a:pPr lvl="3"/>
            <a:r>
              <a:rPr lang="en-US" sz="1200">
                <a:solidFill>
                  <a:srgbClr val="54565B"/>
                </a:solidFill>
              </a:rPr>
              <a:t>Interpersonal Sensitivity Lab with Dr. Frank </a:t>
            </a:r>
            <a:r>
              <a:rPr lang="en-US" sz="1200" err="1">
                <a:solidFill>
                  <a:srgbClr val="54565B"/>
                </a:solidFill>
              </a:rPr>
              <a:t>Bernieri</a:t>
            </a:r>
            <a:r>
              <a:rPr lang="en-US" sz="1200">
                <a:solidFill>
                  <a:srgbClr val="54565B"/>
                </a:solidFill>
              </a:rPr>
              <a:t>, Psychology dept., OSU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en-US" sz="1100">
                <a:solidFill>
                  <a:srgbClr val="54565B"/>
                </a:solidFill>
              </a:rPr>
              <a:t>Project: Correlation between face shapes and personality traits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The Higgins Lab with Dr. Adam Higgins, Bioengineering dept., OSU</a:t>
            </a:r>
          </a:p>
          <a:p>
            <a:pPr lvl="3"/>
            <a:r>
              <a:rPr lang="en-US" sz="1200">
                <a:solidFill>
                  <a:srgbClr val="54565B"/>
                </a:solidFill>
              </a:rPr>
              <a:t>Robotics and Human Control Systems Lab with Dr. Ravi Balasubramanian, Mechanical Engineering dept., OSU</a:t>
            </a:r>
            <a:endParaRPr lang="en-US" sz="120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/>
              <a:t>Internship: Clean room technician at </a:t>
            </a:r>
            <a:r>
              <a:rPr lang="en-US" sz="1800" err="1"/>
              <a:t>Siltronic</a:t>
            </a:r>
            <a:r>
              <a:rPr lang="en-US" sz="1800"/>
              <a:t> Inc. in Portland, Oregon</a:t>
            </a:r>
          </a:p>
          <a:p>
            <a:pPr marL="228600" indent="-228600">
              <a:spcAft>
                <a:spcPts val="0"/>
              </a:spcAft>
              <a:buFont typeface="+mj-lt"/>
              <a:buAutoNum type="alphaLcParenR"/>
            </a:pPr>
            <a:endParaRPr lang="en-US" sz="900"/>
          </a:p>
          <a:p>
            <a:pPr marL="342900" indent="-342900">
              <a:spcAft>
                <a:spcPts val="0"/>
              </a:spcAft>
              <a:buFont typeface="+mj-lt"/>
              <a:buAutoNum type="alphaLcParenR"/>
            </a:pPr>
            <a:r>
              <a:rPr lang="en-US" sz="900"/>
              <a:t>Formulation and Process Development</a:t>
            </a:r>
          </a:p>
          <a:p>
            <a:pPr marL="342900" indent="-342900">
              <a:spcAft>
                <a:spcPts val="0"/>
              </a:spcAft>
              <a:buFont typeface="+mj-lt"/>
              <a:buAutoNum type="alphaLcParenR"/>
            </a:pPr>
            <a:r>
              <a:rPr lang="en-US" sz="900"/>
              <a:t>Gilead Sciences, Inc.</a:t>
            </a:r>
          </a:p>
          <a:p>
            <a:pPr marL="342900" indent="-342900">
              <a:spcAft>
                <a:spcPts val="0"/>
              </a:spcAft>
              <a:buFont typeface="+mj-lt"/>
              <a:buAutoNum type="alphaLcParenR"/>
            </a:pPr>
            <a:r>
              <a:rPr lang="en-US" sz="900"/>
              <a:t>University of Kansas</a:t>
            </a:r>
            <a:endParaRPr lang="en-US" sz="1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pic>
        <p:nvPicPr>
          <p:cNvPr id="3074" name="Picture 2" descr="Kansas Jayhawks - Wikipedia">
            <a:extLst>
              <a:ext uri="{FF2B5EF4-FFF2-40B4-BE49-F238E27FC236}">
                <a16:creationId xmlns:a16="http://schemas.microsoft.com/office/drawing/2014/main" id="{186897E5-395E-427D-9416-399B0EEB28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532" y="2889328"/>
            <a:ext cx="1215012" cy="107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Our Partners | Switchboard">
            <a:extLst>
              <a:ext uri="{FF2B5EF4-FFF2-40B4-BE49-F238E27FC236}">
                <a16:creationId xmlns:a16="http://schemas.microsoft.com/office/drawing/2014/main" id="{A633FE05-BC06-492F-8686-46F7B906F0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5906" y="4100679"/>
            <a:ext cx="1717610" cy="760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Media – Siltronic / perfect silicon solutions">
            <a:extLst>
              <a:ext uri="{FF2B5EF4-FFF2-40B4-BE49-F238E27FC236}">
                <a16:creationId xmlns:a16="http://schemas.microsoft.com/office/drawing/2014/main" id="{C2B26421-788B-49DE-BF4C-6D35E4F31D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2773" y="5197152"/>
            <a:ext cx="1567543" cy="871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8960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isa’s Background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665171"/>
            <a:ext cx="10972800" cy="450703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Research Associate, FPD at GSI (started July 2019) 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Honors B.S. in Chemical Engineering (graduated June 2019)</a:t>
            </a:r>
          </a:p>
          <a:p>
            <a:pPr marL="693420" lvl="3" indent="-169545"/>
            <a:r>
              <a:rPr lang="en-US">
                <a:solidFill>
                  <a:srgbClr val="54565B"/>
                </a:solidFill>
              </a:rPr>
              <a:t>Honors thesis: Assessment of roles for the Rho-specific guanine nucleotide dissociation inhibitor Ly-GDI in platelet func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Biomedical lab-based research</a:t>
            </a:r>
          </a:p>
          <a:p>
            <a:pPr marL="693420" lvl="3" indent="-169545"/>
            <a:r>
              <a:rPr lang="en-US">
                <a:solidFill>
                  <a:srgbClr val="54565B"/>
                </a:solidFill>
              </a:rPr>
              <a:t>Spinal disc rheology with Dr. Skip Rochefort</a:t>
            </a:r>
          </a:p>
          <a:p>
            <a:pPr marL="693420" lvl="3" indent="-169545"/>
            <a:r>
              <a:rPr lang="en-US" i="1">
                <a:solidFill>
                  <a:srgbClr val="54565B"/>
                </a:solidFill>
                <a:latin typeface="Trebuchet MS"/>
              </a:rPr>
              <a:t>Pseudomonas aeruginosa</a:t>
            </a:r>
            <a:r>
              <a:rPr lang="en-US">
                <a:solidFill>
                  <a:srgbClr val="54565B"/>
                </a:solidFill>
                <a:latin typeface="Trebuchet MS"/>
              </a:rPr>
              <a:t> rheology, whole-blood rheological assay development with Dr. Travis Walker</a:t>
            </a:r>
          </a:p>
          <a:p>
            <a:pPr marL="693420" lvl="3" indent="-169545"/>
            <a:r>
              <a:rPr lang="en-US">
                <a:solidFill>
                  <a:srgbClr val="54565B"/>
                </a:solidFill>
              </a:rPr>
              <a:t>Platelet mechanisms and systems biology research at OHSU with Dr. Owen McCart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Multiple Engineering Co-Operative Program (MECOP)</a:t>
            </a:r>
            <a:endParaRPr lang="en-US"/>
          </a:p>
          <a:p>
            <a:pPr marL="693420" lvl="3" indent="-169545"/>
            <a:r>
              <a:rPr lang="en-US">
                <a:solidFill>
                  <a:srgbClr val="54565B"/>
                </a:solidFill>
                <a:latin typeface="Trebuchet MS"/>
              </a:rPr>
              <a:t>ATI Specialty Alloys &amp; Components</a:t>
            </a:r>
          </a:p>
          <a:p>
            <a:pPr marL="693420" lvl="3" indent="-169545"/>
            <a:r>
              <a:rPr lang="en-US">
                <a:solidFill>
                  <a:srgbClr val="54565B"/>
                </a:solidFill>
                <a:latin typeface="Trebuchet MS"/>
              </a:rPr>
              <a:t>HP, Inc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College of Engineering Ambassador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CBEE Club Offic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EAA09E-D67E-864E-8466-C38E88600C4F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C6CAC6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C6CAC6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  <p:pic>
        <p:nvPicPr>
          <p:cNvPr id="65538" name="Picture 2">
            <a:extLst>
              <a:ext uri="{FF2B5EF4-FFF2-40B4-BE49-F238E27FC236}">
                <a16:creationId xmlns:a16="http://schemas.microsoft.com/office/drawing/2014/main" id="{C0F38DEE-9674-4393-8A22-8985F525E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799" y="4784503"/>
            <a:ext cx="686017" cy="686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0" name="Picture 4" descr="Specialty Alloys + Components">
            <a:extLst>
              <a:ext uri="{FF2B5EF4-FFF2-40B4-BE49-F238E27FC236}">
                <a16:creationId xmlns:a16="http://schemas.microsoft.com/office/drawing/2014/main" id="{D62B8E32-E049-4FEC-9DF2-8D65194613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43" t="7120" r="17238" b="10107"/>
          <a:stretch/>
        </p:blipFill>
        <p:spPr bwMode="auto">
          <a:xfrm>
            <a:off x="10381916" y="4862710"/>
            <a:ext cx="1168400" cy="529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542" name="Picture 6">
            <a:extLst>
              <a:ext uri="{FF2B5EF4-FFF2-40B4-BE49-F238E27FC236}">
                <a16:creationId xmlns:a16="http://schemas.microsoft.com/office/drawing/2014/main" id="{3E9F7396-7E79-4479-8814-4B343E2AF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9082" y="3462076"/>
            <a:ext cx="1492250" cy="829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7477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ilead Sciences, Inc.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742174"/>
            <a:ext cx="10972800" cy="478118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Small molecule (Foster City, CA)</a:t>
            </a:r>
          </a:p>
          <a:p>
            <a:pPr marL="572770" lvl="2" indent="-285750"/>
            <a:r>
              <a:rPr lang="en-US">
                <a:latin typeface="Trebuchet MS"/>
              </a:rPr>
              <a:t>Solid oral dosage: tablets, minitablets, taste masked oral granules</a:t>
            </a:r>
          </a:p>
          <a:p>
            <a:pPr marL="572770" lvl="2" indent="-285750"/>
            <a:r>
              <a:rPr lang="en-US">
                <a:latin typeface="Trebuchet MS"/>
              </a:rPr>
              <a:t>Other dosage forms: intravenous (IV) infusion (ex. </a:t>
            </a:r>
            <a:r>
              <a:rPr lang="en-US" err="1">
                <a:latin typeface="Trebuchet MS"/>
              </a:rPr>
              <a:t>remdesivir</a:t>
            </a:r>
            <a:r>
              <a:rPr lang="en-US">
                <a:latin typeface="Trebuchet MS"/>
              </a:rPr>
              <a:t>), liquid filled capsules, long-acting injectabl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Biologics (Oceanside, CA)</a:t>
            </a:r>
          </a:p>
          <a:p>
            <a:pPr marL="572770" lvl="2" indent="-285750"/>
            <a:r>
              <a:rPr lang="en-US">
                <a:latin typeface="Trebuchet MS"/>
              </a:rPr>
              <a:t>Clinical manufacture and process development of biologics candidates in preclinical, Phase 1 and Phase 2 tes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Chimeric antigen receptor (CAR) T-cell therapy (Los Angeles, CA)</a:t>
            </a:r>
          </a:p>
          <a:p>
            <a:pPr marL="572770" lvl="2" indent="-285750"/>
            <a:r>
              <a:rPr lang="en-US">
                <a:latin typeface="Trebuchet MS"/>
              </a:rPr>
              <a:t>Kite Pharma acquired in 2017</a:t>
            </a:r>
          </a:p>
          <a:p>
            <a:pPr marL="572770" lvl="2" indent="-285750"/>
            <a:r>
              <a:rPr lang="en-US" err="1">
                <a:latin typeface="Trebuchet MS"/>
              </a:rPr>
              <a:t>Yescarta</a:t>
            </a:r>
            <a:r>
              <a:rPr lang="en-US">
                <a:latin typeface="Trebuchet MS"/>
              </a:rPr>
              <a:t> for Diffuse Large B-cell Lymphoma approved in 2017 (more cancer indications have been added since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Antibody-drug conjugate (ADC) technology (NJ)</a:t>
            </a:r>
          </a:p>
          <a:p>
            <a:pPr marL="572770" lvl="2" indent="-285750"/>
            <a:r>
              <a:rPr lang="en-US">
                <a:latin typeface="Trebuchet MS"/>
              </a:rPr>
              <a:t>Immunomedics acquired in 2020</a:t>
            </a:r>
          </a:p>
          <a:p>
            <a:pPr marL="15240" lvl="1"/>
            <a:r>
              <a:rPr lang="en-US" b="1" i="0" u="sng">
                <a:latin typeface="Trebuchet MS"/>
              </a:rPr>
              <a:t>Gilead Access Program</a:t>
            </a:r>
            <a:r>
              <a:rPr lang="en-US" i="0">
                <a:latin typeface="Trebuchet MS"/>
              </a:rPr>
              <a:t>: increasing access to low- and middle-income countries for HIV/AIDS, viral hepatitis, and visceral leishmaniasis which include strategic partnerships to help with supplies and pricing</a:t>
            </a:r>
            <a:endParaRPr lang="en-US" b="1" i="0" u="sng">
              <a:latin typeface="Trebuchet M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4514" name="Picture 2" descr="Gilead New Building 368">
            <a:extLst>
              <a:ext uri="{FF2B5EF4-FFF2-40B4-BE49-F238E27FC236}">
                <a16:creationId xmlns:a16="http://schemas.microsoft.com/office/drawing/2014/main" id="{8D08F62A-E13C-4B6F-A096-42DEFACE90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6224" y="143104"/>
            <a:ext cx="3749641" cy="2175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Gilead Sciences logo">
            <a:extLst>
              <a:ext uri="{FF2B5EF4-FFF2-40B4-BE49-F238E27FC236}">
                <a16:creationId xmlns:a16="http://schemas.microsoft.com/office/drawing/2014/main" id="{B018C44C-3920-4BE0-8750-65A6266C6C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98" r="24698"/>
          <a:stretch/>
        </p:blipFill>
        <p:spPr bwMode="auto">
          <a:xfrm>
            <a:off x="5169161" y="519648"/>
            <a:ext cx="703144" cy="944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56277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F2891-3F4F-4286-9EB7-7AADAD6C2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rapeutic Ar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46D136-069C-440B-8947-29FE96A6972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77516" y="1597794"/>
            <a:ext cx="10972800" cy="457440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Virology</a:t>
            </a:r>
          </a:p>
          <a:p>
            <a:pPr marL="629920" lvl="2" indent="-342900">
              <a:buFont typeface="Arial" panose="020B0604020202020204" pitchFamily="34" charset="0"/>
              <a:buChar char="•"/>
            </a:pPr>
            <a:r>
              <a:rPr lang="en-US"/>
              <a:t>HIV: The first single tablet regimen and the first medicine to prevent HIV</a:t>
            </a:r>
          </a:p>
          <a:p>
            <a:pPr marL="629920" lvl="2" indent="-342900">
              <a:buFont typeface="Arial" panose="020B0604020202020204" pitchFamily="34" charset="0"/>
              <a:buChar char="•"/>
            </a:pPr>
            <a:r>
              <a:rPr lang="en-US"/>
              <a:t>Hepatitis: Curative treatments for chronic hepatitis C, therapies for hepatitis B, </a:t>
            </a:r>
            <a:r>
              <a:rPr lang="en-US" err="1"/>
              <a:t>Hepcludex</a:t>
            </a:r>
            <a:r>
              <a:rPr lang="en-US"/>
              <a:t> for Hepatitis Delta Viru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Oncology</a:t>
            </a:r>
          </a:p>
          <a:p>
            <a:pPr marL="572770" lvl="2" indent="-285750">
              <a:buFont typeface="Arial" panose="020B0604020202020204" pitchFamily="34" charset="0"/>
              <a:buChar char="•"/>
            </a:pPr>
            <a:r>
              <a:rPr lang="en-US"/>
              <a:t>Kite has one of the largest cell therapy research programs</a:t>
            </a:r>
          </a:p>
          <a:p>
            <a:pPr marL="572770" lvl="2" indent="-285750">
              <a:buFont typeface="Arial" panose="020B0604020202020204" pitchFamily="34" charset="0"/>
              <a:buChar char="•"/>
            </a:pPr>
            <a:r>
              <a:rPr lang="en-US"/>
              <a:t>Gilead works on small molecules for oncology targe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/>
              <a:t>Inflammation</a:t>
            </a:r>
          </a:p>
          <a:p>
            <a:pPr marL="629920" lvl="2" indent="-342900">
              <a:buFont typeface="Arial" panose="020B0604020202020204" pitchFamily="34" charset="0"/>
              <a:buChar char="•"/>
            </a:pPr>
            <a:r>
              <a:rPr lang="en-US"/>
              <a:t>New treatments to help people with inflammatory diseases</a:t>
            </a:r>
          </a:p>
          <a:p>
            <a:pPr marL="1036320" lvl="3" indent="-342900">
              <a:buFont typeface="Trebuchet MS" panose="020B0603020202020204" pitchFamily="34" charset="0"/>
              <a:buChar char="◦"/>
            </a:pPr>
            <a:r>
              <a:rPr lang="en-US"/>
              <a:t>Fibrosis  </a:t>
            </a:r>
          </a:p>
          <a:p>
            <a:pPr marL="1036320" lvl="3" indent="-342900">
              <a:buFont typeface="Trebuchet MS" panose="020B0603020202020204" pitchFamily="34" charset="0"/>
              <a:buChar char="◦"/>
            </a:pPr>
            <a:r>
              <a:rPr lang="en-US"/>
              <a:t>Non-alcoholic steatohepatitis</a:t>
            </a:r>
          </a:p>
          <a:p>
            <a:pPr marL="629920" lvl="2" indent="-342900">
              <a:buFont typeface="Arial" panose="020B0604020202020204" pitchFamily="34" charset="0"/>
              <a:buChar char="•"/>
            </a:pPr>
            <a:r>
              <a:rPr lang="en-US"/>
              <a:t>Treatment for rheumatoid arthritis approved in EU, Japan</a:t>
            </a:r>
          </a:p>
          <a:p>
            <a:pPr marL="629920" lvl="2" indent="-342900">
              <a:buFont typeface="Arial" panose="020B0604020202020204" pitchFamily="34" charset="0"/>
              <a:buChar char="•"/>
            </a:pPr>
            <a:r>
              <a:rPr lang="en-US">
                <a:latin typeface="Trebuchet MS"/>
              </a:rPr>
              <a:t>Advance care for people with other conditions, including inflammatory bowel disease, cardiovascular disea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0390E-1BAA-404B-BD52-2865C5AE57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1416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B007F7-61B7-41A2-954B-66BB169627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Trebuchet MS" panose="020B0603020202020204" pitchFamily="34" charset="0"/>
              </a:rPr>
              <a:t>Timeline of FDA Approved Produc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D9ECB5-8BAF-4F9F-B987-5B5F0271B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0DE640-A6D1-4877-A105-C9DBBD081A2C}"/>
              </a:ext>
            </a:extLst>
          </p:cNvPr>
          <p:cNvGrpSpPr/>
          <p:nvPr/>
        </p:nvGrpSpPr>
        <p:grpSpPr>
          <a:xfrm>
            <a:off x="386081" y="1551560"/>
            <a:ext cx="11164235" cy="5140731"/>
            <a:chOff x="-66675" y="957263"/>
            <a:chExt cx="9883881" cy="4213225"/>
          </a:xfrm>
        </p:grpSpPr>
        <p:grpSp>
          <p:nvGrpSpPr>
            <p:cNvPr id="7" name="Group 119">
              <a:extLst>
                <a:ext uri="{FF2B5EF4-FFF2-40B4-BE49-F238E27FC236}">
                  <a16:creationId xmlns:a16="http://schemas.microsoft.com/office/drawing/2014/main" id="{E29F9C9A-1B00-4D4C-B67A-6D4E00431A8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75325" y="2568575"/>
              <a:ext cx="774700" cy="514350"/>
              <a:chOff x="6242926" y="2568179"/>
              <a:chExt cx="775094" cy="514024"/>
            </a:xfrm>
          </p:grpSpPr>
          <p:sp>
            <p:nvSpPr>
              <p:cNvPr id="8" name="Rectangle 118">
                <a:extLst>
                  <a:ext uri="{FF2B5EF4-FFF2-40B4-BE49-F238E27FC236}">
                    <a16:creationId xmlns:a16="http://schemas.microsoft.com/office/drawing/2014/main" id="{E37C96AD-128D-4B8B-A373-80C4EB0ADA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2926" y="2820593"/>
                <a:ext cx="775094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Truvada®</a:t>
                </a:r>
              </a:p>
            </p:txBody>
          </p:sp>
          <p:pic>
            <p:nvPicPr>
              <p:cNvPr id="9" name="Picture 22">
                <a:extLst>
                  <a:ext uri="{FF2B5EF4-FFF2-40B4-BE49-F238E27FC236}">
                    <a16:creationId xmlns:a16="http://schemas.microsoft.com/office/drawing/2014/main" id="{B75AFDE6-CB1C-4190-888C-83B6BAF3F4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50385" y="2568179"/>
                <a:ext cx="360176" cy="2030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CC1F79E-FA33-4EAD-9548-814E64942097}"/>
                </a:ext>
              </a:extLst>
            </p:cNvPr>
            <p:cNvSpPr/>
            <p:nvPr/>
          </p:nvSpPr>
          <p:spPr>
            <a:xfrm>
              <a:off x="-9525" y="3362169"/>
              <a:ext cx="9145588" cy="147624"/>
            </a:xfrm>
            <a:prstGeom prst="rect">
              <a:avLst/>
            </a:prstGeom>
            <a:solidFill>
              <a:srgbClr val="888C8B">
                <a:lumMod val="20000"/>
                <a:lumOff val="80000"/>
                <a:alpha val="80000"/>
              </a:srgbClr>
            </a:solidFill>
            <a:ln w="10795" cap="flat" cmpd="sng" algn="ctr">
              <a:noFill/>
              <a:prstDash val="solid"/>
            </a:ln>
            <a:effectLst>
              <a:glow rad="76200">
                <a:srgbClr val="FFFFFF">
                  <a:alpha val="18000"/>
                </a:srgbClr>
              </a:glow>
              <a:innerShdw blurRad="25400" dist="25400" dir="16200000">
                <a:prstClr val="black">
                  <a:alpha val="16000"/>
                </a:prstClr>
              </a:innerShdw>
            </a:effectLst>
          </p:spPr>
          <p:txBody>
            <a:bodyPr lIns="68574" tIns="34289" rIns="68574" bIns="34289" anchor="ctr"/>
            <a:lstStyle>
              <a:lvl1pPr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anklin Gothic Book" pitchFamily="34" charset="0"/>
                  <a:ea typeface="MS PGothic" pitchFamily="34" charset="-128"/>
                </a:defRPr>
              </a:lvl9pPr>
            </a:lstStyle>
            <a:p>
              <a:pPr algn="ctr" defTabSz="914333" fontAlgn="auto">
                <a:lnSpc>
                  <a:spcPct val="90000"/>
                </a:lnSpc>
                <a:spcBef>
                  <a:spcPts val="150"/>
                </a:spcBef>
                <a:spcAft>
                  <a:spcPts val="300"/>
                </a:spcAft>
                <a:defRPr/>
              </a:pPr>
              <a:endParaRPr lang="en-US" altLang="en-US" sz="900" kern="0">
                <a:solidFill>
                  <a:srgbClr val="FFFFFF"/>
                </a:solidFill>
                <a:latin typeface="Calibri" pitchFamily="34" charset="0"/>
              </a:endParaRPr>
            </a:p>
          </p:txBody>
        </p:sp>
        <p:cxnSp>
          <p:nvCxnSpPr>
            <p:cNvPr id="11" name="Straight Connector 8">
              <a:extLst>
                <a:ext uri="{FF2B5EF4-FFF2-40B4-BE49-F238E27FC236}">
                  <a16:creationId xmlns:a16="http://schemas.microsoft.com/office/drawing/2014/main" id="{1B270B89-6013-4502-8EA4-9D4ACEA2C7F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0" y="3430587"/>
              <a:ext cx="9817206" cy="7938"/>
            </a:xfrm>
            <a:prstGeom prst="line">
              <a:avLst/>
            </a:prstGeom>
            <a:noFill/>
            <a:ln w="44450" cap="rnd" algn="ctr">
              <a:solidFill>
                <a:srgbClr val="888C8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Rectangle 70">
              <a:extLst>
                <a:ext uri="{FF2B5EF4-FFF2-40B4-BE49-F238E27FC236}">
                  <a16:creationId xmlns:a16="http://schemas.microsoft.com/office/drawing/2014/main" id="{4EEEAE0B-C13C-4069-A26B-7DA9877EEA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6675" y="2820988"/>
              <a:ext cx="866775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7" rIns="91434" bIns="45717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AmBisome</a:t>
              </a:r>
              <a:r>
                <a:rPr lang="en-US" altLang="en-US" sz="1100">
                  <a:solidFill>
                    <a:srgbClr val="55565C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®</a:t>
              </a:r>
            </a:p>
          </p:txBody>
        </p:sp>
        <p:pic>
          <p:nvPicPr>
            <p:cNvPr id="13" name="Picture 71">
              <a:extLst>
                <a:ext uri="{FF2B5EF4-FFF2-40B4-BE49-F238E27FC236}">
                  <a16:creationId xmlns:a16="http://schemas.microsoft.com/office/drawing/2014/main" id="{C2F59508-4AF3-40A5-B8DA-53DEFC207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850" y="2452688"/>
              <a:ext cx="284163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Straight Connector 12">
              <a:extLst>
                <a:ext uri="{FF2B5EF4-FFF2-40B4-BE49-F238E27FC236}">
                  <a16:creationId xmlns:a16="http://schemas.microsoft.com/office/drawing/2014/main" id="{7B472BC4-577D-439C-AD89-A332AD49925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3200" y="3092450"/>
              <a:ext cx="0" cy="338138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" name="Rectangle 74">
              <a:extLst>
                <a:ext uri="{FF2B5EF4-FFF2-40B4-BE49-F238E27FC236}">
                  <a16:creationId xmlns:a16="http://schemas.microsoft.com/office/drawing/2014/main" id="{FE29DA5F-C2BB-4E45-82A6-75CBF7CEAB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075" y="4176713"/>
              <a:ext cx="669925" cy="265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7" rIns="91434" bIns="45717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Vistide®</a:t>
              </a:r>
            </a:p>
          </p:txBody>
        </p:sp>
        <p:pic>
          <p:nvPicPr>
            <p:cNvPr id="16" name="Picture 75">
              <a:extLst>
                <a:ext uri="{FF2B5EF4-FFF2-40B4-BE49-F238E27FC236}">
                  <a16:creationId xmlns:a16="http://schemas.microsoft.com/office/drawing/2014/main" id="{B79D8ED5-1411-44A0-9B59-708BE0F05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838" y="4467225"/>
              <a:ext cx="152400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2FE2EB0-EDD7-483E-B983-27443142D09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638175" y="3436938"/>
              <a:ext cx="0" cy="727075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7A42484-CF25-432A-8935-EDF3133EDE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8188" y="2589213"/>
              <a:ext cx="744537" cy="493712"/>
              <a:chOff x="1416693" y="2932914"/>
              <a:chExt cx="993130" cy="659218"/>
            </a:xfrm>
          </p:grpSpPr>
          <p:sp>
            <p:nvSpPr>
              <p:cNvPr id="19" name="Rectangle 80">
                <a:extLst>
                  <a:ext uri="{FF2B5EF4-FFF2-40B4-BE49-F238E27FC236}">
                    <a16:creationId xmlns:a16="http://schemas.microsoft.com/office/drawing/2014/main" id="{FC837D2F-0C2D-4D6D-A25F-4DF0C99B26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6693" y="3242874"/>
                <a:ext cx="993130" cy="3492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Tamiflu®</a:t>
                </a:r>
              </a:p>
            </p:txBody>
          </p:sp>
          <p:pic>
            <p:nvPicPr>
              <p:cNvPr id="20" name="Picture 81">
                <a:extLst>
                  <a:ext uri="{FF2B5EF4-FFF2-40B4-BE49-F238E27FC236}">
                    <a16:creationId xmlns:a16="http://schemas.microsoft.com/office/drawing/2014/main" id="{79E547C5-4045-435D-A748-4F734230F8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9021" y="2932914"/>
                <a:ext cx="505934" cy="2179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F0D6523-F8E6-491B-9B1E-D5D8C0CCA6F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096963" y="3089275"/>
              <a:ext cx="0" cy="341313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85B6442-A475-4389-997E-A8AF96B0B93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547813" y="3436938"/>
              <a:ext cx="0" cy="719137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3" name="Rectangle 87">
              <a:extLst>
                <a:ext uri="{FF2B5EF4-FFF2-40B4-BE49-F238E27FC236}">
                  <a16:creationId xmlns:a16="http://schemas.microsoft.com/office/drawing/2014/main" id="{6DE92F1B-6317-4171-B5A8-0FE871B4F1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8725" y="4205288"/>
              <a:ext cx="649288" cy="265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34" tIns="45717" rIns="91434" bIns="45717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Viread®</a:t>
              </a:r>
            </a:p>
          </p:txBody>
        </p:sp>
        <p:pic>
          <p:nvPicPr>
            <p:cNvPr id="24" name="Picture 88">
              <a:extLst>
                <a:ext uri="{FF2B5EF4-FFF2-40B4-BE49-F238E27FC236}">
                  <a16:creationId xmlns:a16="http://schemas.microsoft.com/office/drawing/2014/main" id="{DD6CA740-BDEB-42CA-AEE5-9AA963E875C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4138" y="4429125"/>
              <a:ext cx="398462" cy="306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5" name="Group 118">
              <a:extLst>
                <a:ext uri="{FF2B5EF4-FFF2-40B4-BE49-F238E27FC236}">
                  <a16:creationId xmlns:a16="http://schemas.microsoft.com/office/drawing/2014/main" id="{19538094-67CD-4CF6-94BF-E6C8FF014F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92275" y="2566988"/>
              <a:ext cx="766763" cy="515937"/>
              <a:chOff x="2151459" y="2566986"/>
              <a:chExt cx="767000" cy="515214"/>
            </a:xfrm>
          </p:grpSpPr>
          <p:sp>
            <p:nvSpPr>
              <p:cNvPr id="26" name="Rectangle 94">
                <a:extLst>
                  <a:ext uri="{FF2B5EF4-FFF2-40B4-BE49-F238E27FC236}">
                    <a16:creationId xmlns:a16="http://schemas.microsoft.com/office/drawing/2014/main" id="{C09C0E3D-A516-4674-9A25-8FD583BE9B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1459" y="2820590"/>
                <a:ext cx="767000" cy="2616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Hepsera®</a:t>
                </a:r>
              </a:p>
            </p:txBody>
          </p:sp>
          <p:pic>
            <p:nvPicPr>
              <p:cNvPr id="27" name="Picture 95">
                <a:extLst>
                  <a:ext uri="{FF2B5EF4-FFF2-40B4-BE49-F238E27FC236}">
                    <a16:creationId xmlns:a16="http://schemas.microsoft.com/office/drawing/2014/main" id="{16C9A8AC-DB72-4442-A4A5-73818E5230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5510" y="2566986"/>
                <a:ext cx="218899" cy="2042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28" name="Straight Connector 28">
              <a:extLst>
                <a:ext uri="{FF2B5EF4-FFF2-40B4-BE49-F238E27FC236}">
                  <a16:creationId xmlns:a16="http://schemas.microsoft.com/office/drawing/2014/main" id="{A5C3A3E6-98CC-445B-8C85-4AD64E5CCD7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63750" y="3092450"/>
              <a:ext cx="0" cy="338138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29" name="Group 29">
              <a:extLst>
                <a:ext uri="{FF2B5EF4-FFF2-40B4-BE49-F238E27FC236}">
                  <a16:creationId xmlns:a16="http://schemas.microsoft.com/office/drawing/2014/main" id="{8EF2D305-644B-4768-A971-8F01306A27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00275" y="4205288"/>
              <a:ext cx="744538" cy="454025"/>
              <a:chOff x="3531870" y="5089206"/>
              <a:chExt cx="994523" cy="604932"/>
            </a:xfrm>
          </p:grpSpPr>
          <p:sp>
            <p:nvSpPr>
              <p:cNvPr id="30" name="Rectangle 97">
                <a:extLst>
                  <a:ext uri="{FF2B5EF4-FFF2-40B4-BE49-F238E27FC236}">
                    <a16:creationId xmlns:a16="http://schemas.microsoft.com/office/drawing/2014/main" id="{1AB85EEF-2433-4C06-A584-F9A459AD1D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1870" y="5089206"/>
                <a:ext cx="994523" cy="3488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Emtriva®</a:t>
                </a:r>
              </a:p>
            </p:txBody>
          </p:sp>
          <p:pic>
            <p:nvPicPr>
              <p:cNvPr id="31" name="Picture 98">
                <a:extLst>
                  <a:ext uri="{FF2B5EF4-FFF2-40B4-BE49-F238E27FC236}">
                    <a16:creationId xmlns:a16="http://schemas.microsoft.com/office/drawing/2014/main" id="{DA08E96B-99FE-4798-B252-0E400FB9FB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21786" y="5488903"/>
                <a:ext cx="515908" cy="2052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32" name="Straight Connector 32">
              <a:extLst>
                <a:ext uri="{FF2B5EF4-FFF2-40B4-BE49-F238E27FC236}">
                  <a16:creationId xmlns:a16="http://schemas.microsoft.com/office/drawing/2014/main" id="{A3F9093A-2A56-4604-896B-3ECF7914795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570163" y="3436938"/>
              <a:ext cx="0" cy="727075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DB2FE837-CBF2-4F63-98CB-2743570B251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067050" y="3084513"/>
              <a:ext cx="0" cy="346075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34" name="Group 34">
              <a:extLst>
                <a:ext uri="{FF2B5EF4-FFF2-40B4-BE49-F238E27FC236}">
                  <a16:creationId xmlns:a16="http://schemas.microsoft.com/office/drawing/2014/main" id="{FB009B82-FF8D-407A-BF8C-860C173F552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47963" y="2568575"/>
              <a:ext cx="757237" cy="514350"/>
              <a:chOff x="4311169" y="2906469"/>
              <a:chExt cx="1010605" cy="685628"/>
            </a:xfrm>
          </p:grpSpPr>
          <p:sp>
            <p:nvSpPr>
              <p:cNvPr id="35" name="Rectangle 107">
                <a:extLst>
                  <a:ext uri="{FF2B5EF4-FFF2-40B4-BE49-F238E27FC236}">
                    <a16:creationId xmlns:a16="http://schemas.microsoft.com/office/drawing/2014/main" id="{65860138-41AD-4DE9-8016-4EFC3BA695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11169" y="3243150"/>
                <a:ext cx="1010605" cy="348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Truvada®</a:t>
                </a:r>
              </a:p>
            </p:txBody>
          </p:sp>
          <p:pic>
            <p:nvPicPr>
              <p:cNvPr id="36" name="Picture 108">
                <a:extLst>
                  <a:ext uri="{FF2B5EF4-FFF2-40B4-BE49-F238E27FC236}">
                    <a16:creationId xmlns:a16="http://schemas.microsoft.com/office/drawing/2014/main" id="{2D67F027-505F-49C2-BAFB-22472E6B20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06029" y="2906469"/>
                <a:ext cx="480235" cy="270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7" name="Group 37">
              <a:extLst>
                <a:ext uri="{FF2B5EF4-FFF2-40B4-BE49-F238E27FC236}">
                  <a16:creationId xmlns:a16="http://schemas.microsoft.com/office/drawing/2014/main" id="{4993307A-9ACA-4ACD-A4E3-C0C09DBB4F0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724150" y="1987550"/>
              <a:ext cx="781050" cy="530225"/>
              <a:chOff x="4267973" y="2133705"/>
              <a:chExt cx="1041354" cy="706169"/>
            </a:xfrm>
          </p:grpSpPr>
          <p:sp>
            <p:nvSpPr>
              <p:cNvPr id="38" name="Rectangle 109">
                <a:extLst>
                  <a:ext uri="{FF2B5EF4-FFF2-40B4-BE49-F238E27FC236}">
                    <a16:creationId xmlns:a16="http://schemas.microsoft.com/office/drawing/2014/main" id="{A0DF7CF4-81F1-43DB-8C22-BF0878927F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7973" y="2490979"/>
                <a:ext cx="1041354" cy="3488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55565C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Macugen®</a:t>
                </a:r>
              </a:p>
            </p:txBody>
          </p:sp>
          <p:pic>
            <p:nvPicPr>
              <p:cNvPr id="39" name="Picture 110">
                <a:extLst>
                  <a:ext uri="{FF2B5EF4-FFF2-40B4-BE49-F238E27FC236}">
                    <a16:creationId xmlns:a16="http://schemas.microsoft.com/office/drawing/2014/main" id="{40FF81A4-6A82-4AD4-BFE4-9D859C0FE4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92391" y="2133705"/>
                <a:ext cx="907511" cy="2557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40" name="Straight Connector 40">
              <a:extLst>
                <a:ext uri="{FF2B5EF4-FFF2-40B4-BE49-F238E27FC236}">
                  <a16:creationId xmlns:a16="http://schemas.microsoft.com/office/drawing/2014/main" id="{8D1A1649-7F8A-4EBC-A96C-12A4DAB5C3A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3582988" y="3436938"/>
              <a:ext cx="0" cy="723900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41" name="Group 41">
              <a:extLst>
                <a:ext uri="{FF2B5EF4-FFF2-40B4-BE49-F238E27FC236}">
                  <a16:creationId xmlns:a16="http://schemas.microsoft.com/office/drawing/2014/main" id="{1D9FCA45-6BFE-4428-A4D5-346F7F7EA56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65488" y="4205288"/>
              <a:ext cx="647700" cy="476250"/>
              <a:chOff x="4965063" y="5089206"/>
              <a:chExt cx="863425" cy="635608"/>
            </a:xfrm>
          </p:grpSpPr>
          <p:sp>
            <p:nvSpPr>
              <p:cNvPr id="42" name="Rectangle 112">
                <a:extLst>
                  <a:ext uri="{FF2B5EF4-FFF2-40B4-BE49-F238E27FC236}">
                    <a16:creationId xmlns:a16="http://schemas.microsoft.com/office/drawing/2014/main" id="{EF8988AF-F788-4012-A655-DBD5315ED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65063" y="5089206"/>
                <a:ext cx="863425" cy="3491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Atripla®</a:t>
                </a:r>
              </a:p>
            </p:txBody>
          </p:sp>
          <p:pic>
            <p:nvPicPr>
              <p:cNvPr id="43" name="Picture 113">
                <a:extLst>
                  <a:ext uri="{FF2B5EF4-FFF2-40B4-BE49-F238E27FC236}">
                    <a16:creationId xmlns:a16="http://schemas.microsoft.com/office/drawing/2014/main" id="{9FB6F936-E0FD-4758-AFB9-0C2A1A26A7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36433" y="5458230"/>
                <a:ext cx="475776" cy="2665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4" name="Group 44">
              <a:extLst>
                <a:ext uri="{FF2B5EF4-FFF2-40B4-BE49-F238E27FC236}">
                  <a16:creationId xmlns:a16="http://schemas.microsoft.com/office/drawing/2014/main" id="{6E30CF75-91FE-4763-8406-0F2EF2B1B7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21038" y="4672013"/>
              <a:ext cx="736600" cy="458787"/>
              <a:chOff x="4980231" y="5959152"/>
              <a:chExt cx="980383" cy="611540"/>
            </a:xfrm>
          </p:grpSpPr>
          <p:sp>
            <p:nvSpPr>
              <p:cNvPr id="45" name="Rectangle 114">
                <a:extLst>
                  <a:ext uri="{FF2B5EF4-FFF2-40B4-BE49-F238E27FC236}">
                    <a16:creationId xmlns:a16="http://schemas.microsoft.com/office/drawing/2014/main" id="{77EEB870-1944-4578-81FA-3525ADA108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0231" y="5959152"/>
                <a:ext cx="980383" cy="3490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Ranexa®</a:t>
                </a:r>
              </a:p>
            </p:txBody>
          </p:sp>
          <p:pic>
            <p:nvPicPr>
              <p:cNvPr id="46" name="Picture 115">
                <a:extLst>
                  <a:ext uri="{FF2B5EF4-FFF2-40B4-BE49-F238E27FC236}">
                    <a16:creationId xmlns:a16="http://schemas.microsoft.com/office/drawing/2014/main" id="{5F48ED20-2FFC-4C1E-BEE7-8A24E0091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03672" y="6280799"/>
                <a:ext cx="741298" cy="2898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47" name="Straight Connector 47">
              <a:extLst>
                <a:ext uri="{FF2B5EF4-FFF2-40B4-BE49-F238E27FC236}">
                  <a16:creationId xmlns:a16="http://schemas.microsoft.com/office/drawing/2014/main" id="{AD9414FC-C117-4C6C-971E-11282A607C9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100513" y="3081338"/>
              <a:ext cx="0" cy="349250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48" name="Group 48">
              <a:extLst>
                <a:ext uri="{FF2B5EF4-FFF2-40B4-BE49-F238E27FC236}">
                  <a16:creationId xmlns:a16="http://schemas.microsoft.com/office/drawing/2014/main" id="{DDF2BC8D-853B-4B8B-B15D-41C8CF890BF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98888" y="2579688"/>
              <a:ext cx="801687" cy="503237"/>
              <a:chOff x="5670407" y="2920214"/>
              <a:chExt cx="1069109" cy="671916"/>
            </a:xfrm>
          </p:grpSpPr>
          <p:sp>
            <p:nvSpPr>
              <p:cNvPr id="49" name="Rectangle 117">
                <a:extLst>
                  <a:ext uri="{FF2B5EF4-FFF2-40B4-BE49-F238E27FC236}">
                    <a16:creationId xmlns:a16="http://schemas.microsoft.com/office/drawing/2014/main" id="{C84C7CAF-D44F-47CF-B068-D4C6533B8B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70407" y="3242880"/>
                <a:ext cx="1069109" cy="3492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 Letairis®</a:t>
                </a:r>
              </a:p>
            </p:txBody>
          </p:sp>
          <p:pic>
            <p:nvPicPr>
              <p:cNvPr id="50" name="Picture 119">
                <a:extLst>
                  <a:ext uri="{FF2B5EF4-FFF2-40B4-BE49-F238E27FC236}">
                    <a16:creationId xmlns:a16="http://schemas.microsoft.com/office/drawing/2014/main" id="{F8C0E23B-0032-470D-881A-D8DBE31076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47055" y="2920214"/>
                <a:ext cx="472347" cy="2433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1" name="Straight Connector 51">
              <a:extLst>
                <a:ext uri="{FF2B5EF4-FFF2-40B4-BE49-F238E27FC236}">
                  <a16:creationId xmlns:a16="http://schemas.microsoft.com/office/drawing/2014/main" id="{06DB2546-0175-4CC8-ABE3-41E38FD9EBA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616450" y="3436938"/>
              <a:ext cx="0" cy="712787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52" name="Group 52">
              <a:extLst>
                <a:ext uri="{FF2B5EF4-FFF2-40B4-BE49-F238E27FC236}">
                  <a16:creationId xmlns:a16="http://schemas.microsoft.com/office/drawing/2014/main" id="{B189459C-A191-42CC-A125-1F931DC2CC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92588" y="4205288"/>
              <a:ext cx="863600" cy="479425"/>
              <a:chOff x="6200458" y="5089206"/>
              <a:chExt cx="1152841" cy="638283"/>
            </a:xfrm>
          </p:grpSpPr>
          <p:sp>
            <p:nvSpPr>
              <p:cNvPr id="53" name="Rectangle 121">
                <a:extLst>
                  <a:ext uri="{FF2B5EF4-FFF2-40B4-BE49-F238E27FC236}">
                    <a16:creationId xmlns:a16="http://schemas.microsoft.com/office/drawing/2014/main" id="{47B455E4-789E-4457-9919-6DE0872B46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00458" y="5089206"/>
                <a:ext cx="1152841" cy="3488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Lexiscan®</a:t>
                </a:r>
              </a:p>
            </p:txBody>
          </p:sp>
          <p:pic>
            <p:nvPicPr>
              <p:cNvPr id="54" name="Picture 122">
                <a:extLst>
                  <a:ext uri="{FF2B5EF4-FFF2-40B4-BE49-F238E27FC236}">
                    <a16:creationId xmlns:a16="http://schemas.microsoft.com/office/drawing/2014/main" id="{0E351BCC-FD2C-45F4-A0E0-63058C791D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24784" y="5455552"/>
                <a:ext cx="904190" cy="2719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5" name="Straight Connector 55">
              <a:extLst>
                <a:ext uri="{FF2B5EF4-FFF2-40B4-BE49-F238E27FC236}">
                  <a16:creationId xmlns:a16="http://schemas.microsoft.com/office/drawing/2014/main" id="{6ED2CFC3-65D0-4C74-B189-D32ED83572B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122863" y="3089275"/>
              <a:ext cx="0" cy="341313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56" name="Group 56">
              <a:extLst>
                <a:ext uri="{FF2B5EF4-FFF2-40B4-BE49-F238E27FC236}">
                  <a16:creationId xmlns:a16="http://schemas.microsoft.com/office/drawing/2014/main" id="{35F54DD3-4DBB-4C2B-9670-6674039686B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11700" y="2362200"/>
              <a:ext cx="836613" cy="720725"/>
              <a:chOff x="7003239" y="2631660"/>
              <a:chExt cx="1114267" cy="960438"/>
            </a:xfrm>
          </p:grpSpPr>
          <p:sp>
            <p:nvSpPr>
              <p:cNvPr id="57" name="Rectangle 124">
                <a:extLst>
                  <a:ext uri="{FF2B5EF4-FFF2-40B4-BE49-F238E27FC236}">
                    <a16:creationId xmlns:a16="http://schemas.microsoft.com/office/drawing/2014/main" id="{D3ABB2CE-F1C7-4B5D-80F0-7545239BEE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03239" y="3243126"/>
                <a:ext cx="1114267" cy="3489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Cayston®</a:t>
                </a:r>
              </a:p>
            </p:txBody>
          </p:sp>
          <p:pic>
            <p:nvPicPr>
              <p:cNvPr id="58" name="Picture 125">
                <a:extLst>
                  <a:ext uri="{FF2B5EF4-FFF2-40B4-BE49-F238E27FC236}">
                    <a16:creationId xmlns:a16="http://schemas.microsoft.com/office/drawing/2014/main" id="{5BC81970-126F-4B66-9618-F522CD3019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0388" y="2631660"/>
                <a:ext cx="399969" cy="7234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9" name="Straight Connector 59">
              <a:extLst>
                <a:ext uri="{FF2B5EF4-FFF2-40B4-BE49-F238E27FC236}">
                  <a16:creationId xmlns:a16="http://schemas.microsoft.com/office/drawing/2014/main" id="{D1ED6778-6D28-40E3-8B9D-22CAC6BD10B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5638800" y="3436938"/>
              <a:ext cx="0" cy="719137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60" name="Group 60">
              <a:extLst>
                <a:ext uri="{FF2B5EF4-FFF2-40B4-BE49-F238E27FC236}">
                  <a16:creationId xmlns:a16="http://schemas.microsoft.com/office/drawing/2014/main" id="{92BCCF7F-485F-4695-A221-0725F68F41D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86363" y="4205288"/>
              <a:ext cx="909637" cy="460375"/>
              <a:chOff x="7640956" y="5089206"/>
              <a:chExt cx="1212313" cy="614643"/>
            </a:xfrm>
          </p:grpSpPr>
          <p:pic>
            <p:nvPicPr>
              <p:cNvPr id="61" name="Picture 15">
                <a:extLst>
                  <a:ext uri="{FF2B5EF4-FFF2-40B4-BE49-F238E27FC236}">
                    <a16:creationId xmlns:a16="http://schemas.microsoft.com/office/drawing/2014/main" id="{4E44644E-52F2-4F2A-B652-F1E904076F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27322" y="5479191"/>
                <a:ext cx="439580" cy="2246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2" name="Rectangle 127">
                <a:extLst>
                  <a:ext uri="{FF2B5EF4-FFF2-40B4-BE49-F238E27FC236}">
                    <a16:creationId xmlns:a16="http://schemas.microsoft.com/office/drawing/2014/main" id="{BBD06109-D2B5-42E0-984B-7FD7E5726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640956" y="5089206"/>
                <a:ext cx="1212313" cy="3489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 Complera®</a:t>
                </a:r>
              </a:p>
            </p:txBody>
          </p:sp>
        </p:grpSp>
        <p:cxnSp>
          <p:nvCxnSpPr>
            <p:cNvPr id="63" name="Straight Connector 63">
              <a:extLst>
                <a:ext uri="{FF2B5EF4-FFF2-40B4-BE49-F238E27FC236}">
                  <a16:creationId xmlns:a16="http://schemas.microsoft.com/office/drawing/2014/main" id="{21B91592-0118-497C-A9E5-BE75D16E349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154738" y="3084513"/>
              <a:ext cx="0" cy="346075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64" name="Group 64">
              <a:extLst>
                <a:ext uri="{FF2B5EF4-FFF2-40B4-BE49-F238E27FC236}">
                  <a16:creationId xmlns:a16="http://schemas.microsoft.com/office/drawing/2014/main" id="{8E2C2E2F-1C3A-4ABB-BF66-BD037559F8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84850" y="1976438"/>
              <a:ext cx="735013" cy="541337"/>
              <a:chOff x="8425185" y="2117536"/>
              <a:chExt cx="980285" cy="722353"/>
            </a:xfrm>
          </p:grpSpPr>
          <p:sp>
            <p:nvSpPr>
              <p:cNvPr id="65" name="Rectangle 132">
                <a:extLst>
                  <a:ext uri="{FF2B5EF4-FFF2-40B4-BE49-F238E27FC236}">
                    <a16:creationId xmlns:a16="http://schemas.microsoft.com/office/drawing/2014/main" id="{1BF7464E-E1EC-4330-9C91-1F2D611292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25185" y="2490846"/>
                <a:ext cx="980285" cy="3490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55565C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Stribild®</a:t>
                </a:r>
              </a:p>
            </p:txBody>
          </p:sp>
          <p:pic>
            <p:nvPicPr>
              <p:cNvPr id="66" name="Picture 133">
                <a:extLst>
                  <a:ext uri="{FF2B5EF4-FFF2-40B4-BE49-F238E27FC236}">
                    <a16:creationId xmlns:a16="http://schemas.microsoft.com/office/drawing/2014/main" id="{B8E8D769-F60B-4480-86D2-6F3B64F154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71454" y="2117536"/>
                <a:ext cx="487746" cy="2880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67" name="Straight Connector 67">
              <a:extLst>
                <a:ext uri="{FF2B5EF4-FFF2-40B4-BE49-F238E27FC236}">
                  <a16:creationId xmlns:a16="http://schemas.microsoft.com/office/drawing/2014/main" id="{386297D0-3239-4EDE-A29A-E429C110BF0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6681788" y="3436938"/>
              <a:ext cx="0" cy="727075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68" name="Group 68">
              <a:extLst>
                <a:ext uri="{FF2B5EF4-FFF2-40B4-BE49-F238E27FC236}">
                  <a16:creationId xmlns:a16="http://schemas.microsoft.com/office/drawing/2014/main" id="{B6414DFD-6DE3-4204-947D-5EA0DF9791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340475" y="4205288"/>
              <a:ext cx="728663" cy="469900"/>
              <a:chOff x="9113012" y="5089206"/>
              <a:chExt cx="971774" cy="625338"/>
            </a:xfrm>
          </p:grpSpPr>
          <p:sp>
            <p:nvSpPr>
              <p:cNvPr id="69" name="Rectangle 138">
                <a:extLst>
                  <a:ext uri="{FF2B5EF4-FFF2-40B4-BE49-F238E27FC236}">
                    <a16:creationId xmlns:a16="http://schemas.microsoft.com/office/drawing/2014/main" id="{F21EEC82-C115-4E74-9782-AD76D6D809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13012" y="5089206"/>
                <a:ext cx="971774" cy="3487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Sovaldi®</a:t>
                </a:r>
              </a:p>
            </p:txBody>
          </p:sp>
          <p:pic>
            <p:nvPicPr>
              <p:cNvPr id="70" name="Picture 139">
                <a:extLst>
                  <a:ext uri="{FF2B5EF4-FFF2-40B4-BE49-F238E27FC236}">
                    <a16:creationId xmlns:a16="http://schemas.microsoft.com/office/drawing/2014/main" id="{E5D8C0AE-A39C-4B68-94E5-E15D16BACE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02997" y="5468497"/>
                <a:ext cx="479692" cy="246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1" name="Straight Connector 71">
              <a:extLst>
                <a:ext uri="{FF2B5EF4-FFF2-40B4-BE49-F238E27FC236}">
                  <a16:creationId xmlns:a16="http://schemas.microsoft.com/office/drawing/2014/main" id="{3297F13E-5F7F-4FAF-9155-481A3C31EEA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140575" y="3074988"/>
              <a:ext cx="0" cy="355600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72" name="Group 72">
              <a:extLst>
                <a:ext uri="{FF2B5EF4-FFF2-40B4-BE49-F238E27FC236}">
                  <a16:creationId xmlns:a16="http://schemas.microsoft.com/office/drawing/2014/main" id="{A78405FC-D76C-4AB7-AC47-EFF50CC008F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15138" y="2554288"/>
              <a:ext cx="677862" cy="528637"/>
              <a:chOff x="9808483" y="2887844"/>
              <a:chExt cx="904875" cy="704225"/>
            </a:xfrm>
          </p:grpSpPr>
          <p:sp>
            <p:nvSpPr>
              <p:cNvPr id="73" name="Rectangle 143">
                <a:extLst>
                  <a:ext uri="{FF2B5EF4-FFF2-40B4-BE49-F238E27FC236}">
                    <a16:creationId xmlns:a16="http://schemas.microsoft.com/office/drawing/2014/main" id="{2C725147-92D5-496F-8D34-0165FFCD4A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08483" y="3243350"/>
                <a:ext cx="904875" cy="3487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Zydelig®</a:t>
                </a:r>
              </a:p>
            </p:txBody>
          </p:sp>
          <p:pic>
            <p:nvPicPr>
              <p:cNvPr id="74" name="Picture 144">
                <a:extLst>
                  <a:ext uri="{FF2B5EF4-FFF2-40B4-BE49-F238E27FC236}">
                    <a16:creationId xmlns:a16="http://schemas.microsoft.com/office/drawing/2014/main" id="{4CCD49B5-13CE-4A68-B0CE-AF8A561B82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03723" y="2887844"/>
                <a:ext cx="435020" cy="308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5" name="Group 75">
              <a:extLst>
                <a:ext uri="{FF2B5EF4-FFF2-40B4-BE49-F238E27FC236}">
                  <a16:creationId xmlns:a16="http://schemas.microsoft.com/office/drawing/2014/main" id="{A4444C0A-E645-4980-8470-1DCEFE367D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15138" y="2011363"/>
              <a:ext cx="677862" cy="500062"/>
              <a:chOff x="9768795" y="1442531"/>
              <a:chExt cx="904876" cy="666756"/>
            </a:xfrm>
          </p:grpSpPr>
          <p:pic>
            <p:nvPicPr>
              <p:cNvPr id="76" name="Picture 224">
                <a:extLst>
                  <a:ext uri="{FF2B5EF4-FFF2-40B4-BE49-F238E27FC236}">
                    <a16:creationId xmlns:a16="http://schemas.microsoft.com/office/drawing/2014/main" id="{5531F409-5697-47AB-BAFF-8D695FCCA7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73411" y="1442531"/>
                <a:ext cx="295645" cy="2956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7" name="Rectangle 153">
                <a:extLst>
                  <a:ext uri="{FF2B5EF4-FFF2-40B4-BE49-F238E27FC236}">
                    <a16:creationId xmlns:a16="http://schemas.microsoft.com/office/drawing/2014/main" id="{DF308783-7318-4C74-92E2-F48C0C5BE8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68795" y="1760242"/>
                <a:ext cx="904876" cy="3490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Tybost®</a:t>
                </a:r>
              </a:p>
            </p:txBody>
          </p:sp>
        </p:grpSp>
        <p:grpSp>
          <p:nvGrpSpPr>
            <p:cNvPr id="78" name="Group 78">
              <a:extLst>
                <a:ext uri="{FF2B5EF4-FFF2-40B4-BE49-F238E27FC236}">
                  <a16:creationId xmlns:a16="http://schemas.microsoft.com/office/drawing/2014/main" id="{33EE9074-B9D3-4D2C-BDAF-CCF21650918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84975" y="1416050"/>
              <a:ext cx="738188" cy="511175"/>
              <a:chOff x="9729108" y="733151"/>
              <a:chExt cx="984250" cy="683187"/>
            </a:xfrm>
          </p:grpSpPr>
          <p:sp>
            <p:nvSpPr>
              <p:cNvPr id="79" name="Rectangle 156">
                <a:extLst>
                  <a:ext uri="{FF2B5EF4-FFF2-40B4-BE49-F238E27FC236}">
                    <a16:creationId xmlns:a16="http://schemas.microsoft.com/office/drawing/2014/main" id="{2E1EE56C-AAEA-4A4E-9D9F-DEFA9C1D8E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29108" y="1067014"/>
                <a:ext cx="984250" cy="3493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 Harvoni®</a:t>
                </a:r>
              </a:p>
            </p:txBody>
          </p:sp>
          <p:pic>
            <p:nvPicPr>
              <p:cNvPr id="80" name="Picture 157">
                <a:extLst>
                  <a:ext uri="{FF2B5EF4-FFF2-40B4-BE49-F238E27FC236}">
                    <a16:creationId xmlns:a16="http://schemas.microsoft.com/office/drawing/2014/main" id="{EDBEAC23-704D-48DD-9B64-509B05D0B4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20506" y="733151"/>
                <a:ext cx="601454" cy="344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81" name="Straight Connector 81">
              <a:extLst>
                <a:ext uri="{FF2B5EF4-FFF2-40B4-BE49-F238E27FC236}">
                  <a16:creationId xmlns:a16="http://schemas.microsoft.com/office/drawing/2014/main" id="{DC18BA22-C543-4011-8F54-925A091637B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7608888" y="3436938"/>
              <a:ext cx="0" cy="719137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82" name="Picture 33">
              <a:extLst>
                <a:ext uri="{FF2B5EF4-FFF2-40B4-BE49-F238E27FC236}">
                  <a16:creationId xmlns:a16="http://schemas.microsoft.com/office/drawing/2014/main" id="{F775226A-BA46-4843-9D4A-7264612827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0463" y="4498975"/>
              <a:ext cx="320675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3" name="Rectangle 159">
              <a:extLst>
                <a:ext uri="{FF2B5EF4-FFF2-40B4-BE49-F238E27FC236}">
                  <a16:creationId xmlns:a16="http://schemas.microsoft.com/office/drawing/2014/main" id="{AF70F985-7565-4DBC-8F83-BA1BEDCFC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37413" y="4205288"/>
              <a:ext cx="830262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Genvoya®</a:t>
              </a:r>
            </a:p>
          </p:txBody>
        </p:sp>
        <p:cxnSp>
          <p:nvCxnSpPr>
            <p:cNvPr id="84" name="Straight Connector 85">
              <a:extLst>
                <a:ext uri="{FF2B5EF4-FFF2-40B4-BE49-F238E27FC236}">
                  <a16:creationId xmlns:a16="http://schemas.microsoft.com/office/drawing/2014/main" id="{AD182375-B446-4011-B238-08ECAC7F13F7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031163" y="3113088"/>
              <a:ext cx="0" cy="317500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85" name="Group 86">
              <a:extLst>
                <a:ext uri="{FF2B5EF4-FFF2-40B4-BE49-F238E27FC236}">
                  <a16:creationId xmlns:a16="http://schemas.microsoft.com/office/drawing/2014/main" id="{259957B8-9117-4FF4-9EE4-E4F68298823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80325" y="2578100"/>
              <a:ext cx="828675" cy="504825"/>
              <a:chOff x="11076788" y="2920195"/>
              <a:chExt cx="1104900" cy="671835"/>
            </a:xfrm>
          </p:grpSpPr>
          <p:pic>
            <p:nvPicPr>
              <p:cNvPr id="86" name="Picture 226">
                <a:extLst>
                  <a:ext uri="{FF2B5EF4-FFF2-40B4-BE49-F238E27FC236}">
                    <a16:creationId xmlns:a16="http://schemas.microsoft.com/office/drawing/2014/main" id="{4A92CE2B-F491-4EE4-9FF6-B62EECD38B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88177" y="2920195"/>
                <a:ext cx="482122" cy="243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87" name="Rectangle 161">
                <a:extLst>
                  <a:ext uri="{FF2B5EF4-FFF2-40B4-BE49-F238E27FC236}">
                    <a16:creationId xmlns:a16="http://schemas.microsoft.com/office/drawing/2014/main" id="{DFDBC4A9-AC26-4FB7-9832-AE64EDE435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76788" y="3243646"/>
                <a:ext cx="1104900" cy="3483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Odefsey®</a:t>
                </a:r>
              </a:p>
            </p:txBody>
          </p:sp>
        </p:grpSp>
        <p:grpSp>
          <p:nvGrpSpPr>
            <p:cNvPr id="88" name="Group 89">
              <a:extLst>
                <a:ext uri="{FF2B5EF4-FFF2-40B4-BE49-F238E27FC236}">
                  <a16:creationId xmlns:a16="http://schemas.microsoft.com/office/drawing/2014/main" id="{DD03CE3E-4920-4601-B463-2287C2444C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54938" y="1987550"/>
              <a:ext cx="754062" cy="568325"/>
              <a:chOff x="11176800" y="2081784"/>
              <a:chExt cx="1004887" cy="758059"/>
            </a:xfrm>
          </p:grpSpPr>
          <p:pic>
            <p:nvPicPr>
              <p:cNvPr id="89" name="Picture 162">
                <a:extLst>
                  <a:ext uri="{FF2B5EF4-FFF2-40B4-BE49-F238E27FC236}">
                    <a16:creationId xmlns:a16="http://schemas.microsoft.com/office/drawing/2014/main" id="{2E980FD9-B6B4-424D-924B-84FBE9E4E1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79175" y="2081784"/>
                <a:ext cx="500126" cy="3595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0" name="Rectangle 163">
                <a:extLst>
                  <a:ext uri="{FF2B5EF4-FFF2-40B4-BE49-F238E27FC236}">
                    <a16:creationId xmlns:a16="http://schemas.microsoft.com/office/drawing/2014/main" id="{38ACB291-80D3-4C9B-8647-5AA5CC9817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76800" y="2491181"/>
                <a:ext cx="1004887" cy="3486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55565C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Descovy®</a:t>
                </a:r>
              </a:p>
            </p:txBody>
          </p:sp>
        </p:grpSp>
        <p:grpSp>
          <p:nvGrpSpPr>
            <p:cNvPr id="91" name="Group 92">
              <a:extLst>
                <a:ext uri="{FF2B5EF4-FFF2-40B4-BE49-F238E27FC236}">
                  <a16:creationId xmlns:a16="http://schemas.microsoft.com/office/drawing/2014/main" id="{72577182-2CF0-4188-A61D-DECBFE568B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45413" y="1450975"/>
              <a:ext cx="744537" cy="519113"/>
              <a:chOff x="11012213" y="1417728"/>
              <a:chExt cx="992790" cy="691519"/>
            </a:xfrm>
          </p:grpSpPr>
          <p:sp>
            <p:nvSpPr>
              <p:cNvPr id="92" name="Rectangle 164">
                <a:extLst>
                  <a:ext uri="{FF2B5EF4-FFF2-40B4-BE49-F238E27FC236}">
                    <a16:creationId xmlns:a16="http://schemas.microsoft.com/office/drawing/2014/main" id="{15FB9A6E-0D54-4396-9542-C3977FCC23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12213" y="1760531"/>
                <a:ext cx="992790" cy="348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Epclusa®</a:t>
                </a:r>
              </a:p>
            </p:txBody>
          </p:sp>
          <p:pic>
            <p:nvPicPr>
              <p:cNvPr id="93" name="Picture 165">
                <a:extLst>
                  <a:ext uri="{FF2B5EF4-FFF2-40B4-BE49-F238E27FC236}">
                    <a16:creationId xmlns:a16="http://schemas.microsoft.com/office/drawing/2014/main" id="{2ADC2C6B-D4B5-4764-9125-253E55A861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83839" y="1417728"/>
                <a:ext cx="585976" cy="3452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94" name="Group 95">
              <a:extLst>
                <a:ext uri="{FF2B5EF4-FFF2-40B4-BE49-F238E27FC236}">
                  <a16:creationId xmlns:a16="http://schemas.microsoft.com/office/drawing/2014/main" id="{5C521861-FC6B-43E4-A663-EAF2BF611C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67625" y="957263"/>
              <a:ext cx="854075" cy="492125"/>
              <a:chOff x="11060127" y="758930"/>
              <a:chExt cx="1138222" cy="657388"/>
            </a:xfrm>
          </p:grpSpPr>
          <p:sp>
            <p:nvSpPr>
              <p:cNvPr id="95" name="Rectangle 166">
                <a:extLst>
                  <a:ext uri="{FF2B5EF4-FFF2-40B4-BE49-F238E27FC236}">
                    <a16:creationId xmlns:a16="http://schemas.microsoft.com/office/drawing/2014/main" id="{8B8385A9-C126-49F0-A818-3B9D68BA75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60127" y="1067187"/>
                <a:ext cx="1138222" cy="3491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Vemlidy®</a:t>
                </a:r>
              </a:p>
            </p:txBody>
          </p:sp>
          <p:pic>
            <p:nvPicPr>
              <p:cNvPr id="96" name="Picture 167">
                <a:extLst>
                  <a:ext uri="{FF2B5EF4-FFF2-40B4-BE49-F238E27FC236}">
                    <a16:creationId xmlns:a16="http://schemas.microsoft.com/office/drawing/2014/main" id="{4C00640B-1B45-49CE-9447-50E4A8A3CF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82934" y="758930"/>
                <a:ext cx="292608" cy="2926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F98FCB6-86D1-42AB-8547-BAFFFA0857B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-12700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1990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4384A6F0-B363-428B-9FB3-F1EED03448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0375" y="3627438"/>
              <a:ext cx="412750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1996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7700D42-7049-44D3-A0A9-9413F4DE548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4563" y="3627438"/>
              <a:ext cx="411162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1999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5F1273C2-AD6A-476B-B7BB-D5ACF0DCF99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389063" y="3627438"/>
              <a:ext cx="412750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1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36D28D01-175A-433E-A235-1CA3A61095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1825" y="3627438"/>
              <a:ext cx="4095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670851B6-42A1-4ECD-AC71-ACB8D530AD4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401888" y="3627438"/>
              <a:ext cx="411162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3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2FA2D39D-EBDF-4E76-9D59-FAABA4EC44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94013" y="3627438"/>
              <a:ext cx="412750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4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00569D4A-5E82-4AE1-A1FA-631D69C1290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0677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6</a:t>
              </a: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8CC2A976-8CD0-48B9-9101-C2A25159395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17950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7</a:t>
              </a:r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2E9A66D-47C1-4FE7-B707-87578020D30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42912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08</a:t>
              </a:r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6C60729F-807A-47FC-A826-C386A79E282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93077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0</a:t>
              </a: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135FEDA6-9742-4C71-87A2-1E2E37AAF6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440363" y="3627438"/>
              <a:ext cx="412750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1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599951E3-31D3-4D4E-A10C-21E243C0F89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95312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2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75B5B5CC-7592-4709-8DA3-5CBCE33E6D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7382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3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AF5C3C3-6281-4316-BEBA-EC9B8C665EE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3737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4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CD0659DC-EACC-4787-A596-DCFFECF946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400925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5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4CC2E344-5222-4F1A-8809-A42B453056D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16850" y="3627438"/>
              <a:ext cx="411163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4" tIns="68574" rIns="68574" bIns="68574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6</a:t>
              </a:r>
            </a:p>
          </p:txBody>
        </p:sp>
        <p:grpSp>
          <p:nvGrpSpPr>
            <p:cNvPr id="114" name="Group 115">
              <a:extLst>
                <a:ext uri="{FF2B5EF4-FFF2-40B4-BE49-F238E27FC236}">
                  <a16:creationId xmlns:a16="http://schemas.microsoft.com/office/drawing/2014/main" id="{AAC43B18-B318-4A77-B5B6-B5852D97C24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60850" y="4694238"/>
              <a:ext cx="727075" cy="476250"/>
              <a:chOff x="2219801" y="4784133"/>
              <a:chExt cx="969963" cy="635352"/>
            </a:xfrm>
          </p:grpSpPr>
          <p:sp>
            <p:nvSpPr>
              <p:cNvPr id="115" name="Rectangle 87">
                <a:extLst>
                  <a:ext uri="{FF2B5EF4-FFF2-40B4-BE49-F238E27FC236}">
                    <a16:creationId xmlns:a16="http://schemas.microsoft.com/office/drawing/2014/main" id="{67CEB2CB-88ED-4EEC-B48A-D10E2D1DEE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9801" y="4784133"/>
                <a:ext cx="969963" cy="3490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Wingdings" panose="05000000000000000000" pitchFamily="2" charset="2"/>
                  <a:buChar char="§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300"/>
                  </a:spcBef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3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defTabSz="914400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en-US" sz="1100">
                    <a:solidFill>
                      <a:srgbClr val="444646"/>
                    </a:solidFill>
                    <a:latin typeface="Calibri Light" panose="020F0302020204030204" pitchFamily="34" charset="0"/>
                    <a:ea typeface="MS PGothic" panose="020B0600070205080204" pitchFamily="34" charset="-128"/>
                  </a:rPr>
                  <a:t>Viread®</a:t>
                </a:r>
              </a:p>
            </p:txBody>
          </p:sp>
          <p:pic>
            <p:nvPicPr>
              <p:cNvPr id="116" name="Picture 88">
                <a:extLst>
                  <a:ext uri="{FF2B5EF4-FFF2-40B4-BE49-F238E27FC236}">
                    <a16:creationId xmlns:a16="http://schemas.microsoft.com/office/drawing/2014/main" id="{C2E2F2A8-FF1B-4CAC-9AB4-CB130410B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9412" y="5011320"/>
                <a:ext cx="530742" cy="4081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DDA26EEF-AEB9-4B6D-85FF-49A392693648}"/>
                </a:ext>
              </a:extLst>
            </p:cNvPr>
            <p:cNvCxnSpPr/>
            <p:nvPr/>
          </p:nvCxnSpPr>
          <p:spPr>
            <a:xfrm flipV="1">
              <a:off x="8466138" y="3436938"/>
              <a:ext cx="0" cy="712787"/>
            </a:xfrm>
            <a:prstGeom prst="line">
              <a:avLst/>
            </a:prstGeom>
            <a:ln w="19050" cap="rnd" cmpd="sng">
              <a:solidFill>
                <a:srgbClr val="3C587F"/>
              </a:solidFill>
              <a:prstDash val="sysDot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7A40E670-E9BF-4F5D-8CCC-79815C9E8FC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269288" y="3625850"/>
              <a:ext cx="415925" cy="1825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91440" bIns="91440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7</a:t>
              </a:r>
            </a:p>
          </p:txBody>
        </p:sp>
        <p:sp>
          <p:nvSpPr>
            <p:cNvPr id="119" name="Rectangle 159">
              <a:extLst>
                <a:ext uri="{FF2B5EF4-FFF2-40B4-BE49-F238E27FC236}">
                  <a16:creationId xmlns:a16="http://schemas.microsoft.com/office/drawing/2014/main" id="{B7BF7791-B94A-471E-9B9A-4CBF223B2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8150" y="4205288"/>
              <a:ext cx="901700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b="1" baseline="-250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Vosevi®</a:t>
              </a:r>
            </a:p>
          </p:txBody>
        </p:sp>
        <p:pic>
          <p:nvPicPr>
            <p:cNvPr id="120" name="Picture 132">
              <a:extLst>
                <a:ext uri="{FF2B5EF4-FFF2-40B4-BE49-F238E27FC236}">
                  <a16:creationId xmlns:a16="http://schemas.microsoft.com/office/drawing/2014/main" id="{72C971BB-0B09-4F2C-8C80-0CD30AC2A0A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8243">
              <a:off x="8348663" y="4500563"/>
              <a:ext cx="241300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1" name="Slide Number Placeholder 2">
              <a:extLst>
                <a:ext uri="{FF2B5EF4-FFF2-40B4-BE49-F238E27FC236}">
                  <a16:creationId xmlns:a16="http://schemas.microsoft.com/office/drawing/2014/main" id="{3E684EEF-F790-4F98-8EF6-B1D43BC5388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708775" y="4767263"/>
              <a:ext cx="2057400" cy="2746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BFA022F1-0DB6-4FB0-845C-A80A2A0A70AD}" type="slidenum">
                <a:rPr lang="en-US" altLang="en-US" smtClean="0"/>
                <a:pPr/>
                <a:t>6</a:t>
              </a:fld>
              <a:endParaRPr lang="en-US" altLang="en-US"/>
            </a:p>
          </p:txBody>
        </p:sp>
        <p:cxnSp>
          <p:nvCxnSpPr>
            <p:cNvPr id="122" name="Straight Connector 85">
              <a:extLst>
                <a:ext uri="{FF2B5EF4-FFF2-40B4-BE49-F238E27FC236}">
                  <a16:creationId xmlns:a16="http://schemas.microsoft.com/office/drawing/2014/main" id="{9D1A9523-8F20-4C63-A284-7EEC0C2C6F9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8907463" y="3113088"/>
              <a:ext cx="0" cy="317500"/>
            </a:xfrm>
            <a:prstGeom prst="line">
              <a:avLst/>
            </a:prstGeom>
            <a:noFill/>
            <a:ln w="19050" cap="rnd" algn="ctr">
              <a:solidFill>
                <a:srgbClr val="3C587F"/>
              </a:solidFill>
              <a:prstDash val="sysDot"/>
              <a:round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23" name="Picture 2">
              <a:extLst>
                <a:ext uri="{FF2B5EF4-FFF2-40B4-BE49-F238E27FC236}">
                  <a16:creationId xmlns:a16="http://schemas.microsoft.com/office/drawing/2014/main" id="{4FFC7978-9278-4BE7-B5FB-C1BF728D90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2513" y="2541588"/>
              <a:ext cx="320675" cy="292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4" name="Rectangle 161">
              <a:extLst>
                <a:ext uri="{FF2B5EF4-FFF2-40B4-BE49-F238E27FC236}">
                  <a16:creationId xmlns:a16="http://schemas.microsoft.com/office/drawing/2014/main" id="{697DD5EB-67CB-49B7-8151-DE82F915A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0325" y="2820988"/>
              <a:ext cx="828675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Odefsey®</a:t>
              </a:r>
            </a:p>
          </p:txBody>
        </p:sp>
        <p:sp>
          <p:nvSpPr>
            <p:cNvPr id="125" name="Rectangle 161">
              <a:extLst>
                <a:ext uri="{FF2B5EF4-FFF2-40B4-BE49-F238E27FC236}">
                  <a16:creationId xmlns:a16="http://schemas.microsoft.com/office/drawing/2014/main" id="{8CA8A797-8AF3-4218-929A-0B35B472A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0263" y="2824163"/>
              <a:ext cx="828675" cy="261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 err="1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Biktarvy</a:t>
              </a: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®</a:t>
              </a:r>
            </a:p>
          </p:txBody>
        </p:sp>
        <p:sp>
          <p:nvSpPr>
            <p:cNvPr id="126" name="Rectangle 159">
              <a:extLst>
                <a:ext uri="{FF2B5EF4-FFF2-40B4-BE49-F238E27FC236}">
                  <a16:creationId xmlns:a16="http://schemas.microsoft.com/office/drawing/2014/main" id="{8BDC38B4-240C-4448-B4B5-55A384259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21638" y="4622800"/>
              <a:ext cx="901700" cy="2619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–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300"/>
                </a:spcBef>
                <a:buFont typeface="Wingdings" panose="05000000000000000000" pitchFamily="2" charset="2"/>
                <a:buChar char="§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400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en-US" sz="1100">
                  <a:solidFill>
                    <a:srgbClr val="444646"/>
                  </a:solidFill>
                  <a:latin typeface="Calibri Light" panose="020F0302020204030204" pitchFamily="34" charset="0"/>
                  <a:ea typeface="MS PGothic" panose="020B0600070205080204" pitchFamily="34" charset="-128"/>
                </a:rPr>
                <a:t> Yescarta®</a:t>
              </a:r>
            </a:p>
          </p:txBody>
        </p:sp>
        <p:pic>
          <p:nvPicPr>
            <p:cNvPr id="127" name="Picture 1">
              <a:extLst>
                <a:ext uri="{FF2B5EF4-FFF2-40B4-BE49-F238E27FC236}">
                  <a16:creationId xmlns:a16="http://schemas.microsoft.com/office/drawing/2014/main" id="{CCDF0BBC-DE5A-4B71-8E92-28FF43036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28000" y="4884738"/>
              <a:ext cx="668338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A981A8E9-5C57-4AC8-9BCA-C4348B7A78C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704263" y="3630613"/>
              <a:ext cx="415925" cy="1825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dist="76201" dir="2700000" sx="94000" sy="94000" algn="tl" rotWithShape="0">
                <a:srgbClr val="000000">
                  <a:alpha val="17000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91440" bIns="91440" anchor="ctr"/>
            <a:lstStyle>
              <a:lvl1pPr eaLnBrk="0" hangingPunct="0">
                <a:lnSpc>
                  <a:spcPct val="95000"/>
                </a:lnSpc>
                <a:spcBef>
                  <a:spcPts val="1400"/>
                </a:spcBef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2pPr>
              <a:lvl3pPr marL="1143000" indent="-228600" eaLnBrk="0" hangingPunct="0">
                <a:lnSpc>
                  <a:spcPct val="85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6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16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1400"/>
                </a:spcBef>
                <a:spcAft>
                  <a:spcPts val="200"/>
                </a:spcAft>
                <a:buClr>
                  <a:schemeClr val="tx1"/>
                </a:buClr>
                <a:buFont typeface="Arial" charset="0"/>
                <a:buChar char="•"/>
                <a:defRPr sz="2400">
                  <a:solidFill>
                    <a:schemeClr val="tx2"/>
                  </a:solidFill>
                  <a:latin typeface="Calibri Light" charset="0"/>
                  <a:ea typeface="MS PGothic" charset="-128"/>
                </a:defRPr>
              </a:lvl9pPr>
            </a:lstStyle>
            <a:p>
              <a:pPr algn="ctr" defTabSz="914333" fontAlgn="auto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Tx/>
                <a:buFont typeface="Arial" charset="0"/>
                <a:buNone/>
                <a:defRPr/>
              </a:pPr>
              <a:r>
                <a:rPr lang="en-US" altLang="en-US" sz="800" kern="0">
                  <a:solidFill>
                    <a:srgbClr val="444646"/>
                  </a:solidFill>
                </a:rPr>
                <a:t>2018</a:t>
              </a:r>
            </a:p>
          </p:txBody>
        </p:sp>
      </p:grpSp>
      <p:pic>
        <p:nvPicPr>
          <p:cNvPr id="61442" name="Picture 2" descr="World Health Organization Rejects Antiviral Drug Remdesivir as Covid-19  Treatment - The New York Times">
            <a:extLst>
              <a:ext uri="{FF2B5EF4-FFF2-40B4-BE49-F238E27FC236}">
                <a16:creationId xmlns:a16="http://schemas.microsoft.com/office/drawing/2014/main" id="{EA2AE276-C4B4-4417-8F70-3A8FD1D928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2321" y="2735051"/>
            <a:ext cx="956520" cy="95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Rectangle 161">
            <a:extLst>
              <a:ext uri="{FF2B5EF4-FFF2-40B4-BE49-F238E27FC236}">
                <a16:creationId xmlns:a16="http://schemas.microsoft.com/office/drawing/2014/main" id="{17F09380-C562-4F92-985A-CFC069157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1620" y="3739885"/>
            <a:ext cx="93602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300"/>
              </a:spcBef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914400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100" err="1">
                <a:solidFill>
                  <a:srgbClr val="444646"/>
                </a:solidFill>
                <a:latin typeface="Calibri Light" panose="020F0302020204030204" pitchFamily="34" charset="0"/>
                <a:ea typeface="MS PGothic" panose="020B0600070205080204" pitchFamily="34" charset="-128"/>
              </a:rPr>
              <a:t>Veklury</a:t>
            </a:r>
            <a:r>
              <a:rPr lang="en-US" altLang="en-US" sz="1100">
                <a:solidFill>
                  <a:srgbClr val="444646"/>
                </a:solidFill>
                <a:latin typeface="Calibri Light" panose="020F0302020204030204" pitchFamily="34" charset="0"/>
                <a:ea typeface="MS PGothic" panose="020B0600070205080204" pitchFamily="34" charset="-128"/>
              </a:rPr>
              <a:t>® </a:t>
            </a:r>
          </a:p>
          <a:p>
            <a:pPr algn="ctr" defTabSz="914400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100">
                <a:solidFill>
                  <a:srgbClr val="444646"/>
                </a:solidFill>
                <a:latin typeface="Calibri Light" panose="020F0302020204030204" pitchFamily="34" charset="0"/>
                <a:ea typeface="MS PGothic" panose="020B0600070205080204" pitchFamily="34" charset="-128"/>
              </a:rPr>
              <a:t>(</a:t>
            </a:r>
            <a:r>
              <a:rPr lang="en-US" altLang="en-US" sz="1100" err="1">
                <a:solidFill>
                  <a:srgbClr val="444646"/>
                </a:solidFill>
                <a:latin typeface="Calibri Light" panose="020F0302020204030204" pitchFamily="34" charset="0"/>
                <a:ea typeface="MS PGothic" panose="020B0600070205080204" pitchFamily="34" charset="-128"/>
              </a:rPr>
              <a:t>remdesivir</a:t>
            </a:r>
            <a:r>
              <a:rPr lang="en-US" altLang="en-US" sz="1100">
                <a:solidFill>
                  <a:srgbClr val="444646"/>
                </a:solidFill>
                <a:latin typeface="Calibri Light" panose="020F0302020204030204" pitchFamily="34" charset="0"/>
                <a:ea typeface="MS PGothic" panose="020B0600070205080204" pitchFamily="34" charset="-128"/>
              </a:rPr>
              <a:t>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9C6BC19-CECE-4F54-9C17-CEC1A899E37F}"/>
              </a:ext>
            </a:extLst>
          </p:cNvPr>
          <p:cNvSpPr>
            <a:spLocks noChangeAspect="1"/>
          </p:cNvSpPr>
          <p:nvPr/>
        </p:nvSpPr>
        <p:spPr bwMode="auto">
          <a:xfrm>
            <a:off x="11210595" y="4807616"/>
            <a:ext cx="469804" cy="22275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dist="76201" dir="2700000" sx="94000" sy="94000" algn="tl" rotWithShape="0">
              <a:srgbClr val="000000">
                <a:alpha val="17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91440" bIns="91440" anchor="ctr"/>
          <a:lstStyle>
            <a:lvl1pPr eaLnBrk="0" hangingPunct="0">
              <a:lnSpc>
                <a:spcPct val="95000"/>
              </a:lnSpc>
              <a:spcBef>
                <a:spcPts val="1400"/>
              </a:spcBef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000">
                <a:solidFill>
                  <a:schemeClr val="tx2"/>
                </a:solidFill>
                <a:latin typeface="Calibri Light" charset="0"/>
                <a:ea typeface="MS PGothic" charset="-128"/>
              </a:defRPr>
            </a:lvl2pPr>
            <a:lvl3pPr marL="1143000" indent="-228600" eaLnBrk="0" hangingPunct="0">
              <a:lnSpc>
                <a:spcPct val="85000"/>
              </a:lnSpc>
              <a:spcBef>
                <a:spcPts val="6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>
                <a:solidFill>
                  <a:schemeClr val="tx2"/>
                </a:solidFill>
                <a:latin typeface="Calibri Light" charset="0"/>
                <a:ea typeface="MS PGothic" charset="-128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6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1600">
                <a:solidFill>
                  <a:schemeClr val="tx2"/>
                </a:solidFill>
                <a:latin typeface="Calibri Light" charset="0"/>
                <a:ea typeface="MS PGothic" charset="-128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14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4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4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4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400"/>
              </a:spcBef>
              <a:spcAft>
                <a:spcPts val="200"/>
              </a:spcAft>
              <a:buClr>
                <a:schemeClr val="tx1"/>
              </a:buClr>
              <a:buFont typeface="Arial" charset="0"/>
              <a:buChar char="•"/>
              <a:defRPr sz="2400">
                <a:solidFill>
                  <a:schemeClr val="tx2"/>
                </a:solidFill>
                <a:latin typeface="Calibri Light" charset="0"/>
                <a:ea typeface="MS PGothic" charset="-128"/>
              </a:defRPr>
            </a:lvl9pPr>
          </a:lstStyle>
          <a:p>
            <a:pPr algn="ctr" defTabSz="914333" fontAlgn="auto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Font typeface="Arial" charset="0"/>
              <a:buNone/>
              <a:defRPr/>
            </a:pPr>
            <a:r>
              <a:rPr lang="en-US" altLang="en-US" sz="800" kern="0">
                <a:solidFill>
                  <a:srgbClr val="444646"/>
                </a:solidFill>
              </a:rPr>
              <a:t>2020</a:t>
            </a:r>
          </a:p>
        </p:txBody>
      </p:sp>
      <p:cxnSp>
        <p:nvCxnSpPr>
          <p:cNvPr id="136" name="Straight Connector 85">
            <a:extLst>
              <a:ext uri="{FF2B5EF4-FFF2-40B4-BE49-F238E27FC236}">
                <a16:creationId xmlns:a16="http://schemas.microsoft.com/office/drawing/2014/main" id="{0737BB2E-F3E0-4403-8053-BD983DA2D29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417546" y="4167443"/>
            <a:ext cx="0" cy="387395"/>
          </a:xfrm>
          <a:prstGeom prst="line">
            <a:avLst/>
          </a:prstGeom>
          <a:noFill/>
          <a:ln w="19050" cap="rnd" algn="ctr">
            <a:solidFill>
              <a:srgbClr val="3C587F"/>
            </a:solidFill>
            <a:prstDash val="sysDot"/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" name="Picture 5">
            <a:extLst>
              <a:ext uri="{FF2B5EF4-FFF2-40B4-BE49-F238E27FC236}">
                <a16:creationId xmlns:a16="http://schemas.microsoft.com/office/drawing/2014/main" id="{7B8ABFE0-6BB8-4564-8B22-71EAFE685C79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1025188" y="2162175"/>
            <a:ext cx="783648" cy="221673"/>
          </a:xfrm>
          <a:prstGeom prst="rect">
            <a:avLst/>
          </a:prstGeom>
        </p:spPr>
      </p:pic>
      <p:sp>
        <p:nvSpPr>
          <p:cNvPr id="6" name="Rectangle 159">
            <a:extLst>
              <a:ext uri="{FF2B5EF4-FFF2-40B4-BE49-F238E27FC236}">
                <a16:creationId xmlns:a16="http://schemas.microsoft.com/office/drawing/2014/main" id="{30459F0F-AC9B-4A62-8F8C-D30D8BE4DA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0119" y="2366434"/>
            <a:ext cx="10185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>
            <a:spAutoFit/>
          </a:bodyPr>
          <a:lstStyle>
            <a:lvl1pPr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300"/>
              </a:spcBef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100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 </a:t>
            </a:r>
            <a:r>
              <a:rPr lang="en-US" altLang="en-US" sz="1100" err="1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Tecartus</a:t>
            </a:r>
            <a:r>
              <a:rPr lang="en-US" altLang="en-US" sz="1100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®</a:t>
            </a:r>
          </a:p>
        </p:txBody>
      </p:sp>
      <p:pic>
        <p:nvPicPr>
          <p:cNvPr id="61440" name="Picture 61440">
            <a:extLst>
              <a:ext uri="{FF2B5EF4-FFF2-40B4-BE49-F238E27FC236}">
                <a16:creationId xmlns:a16="http://schemas.microsoft.com/office/drawing/2014/main" id="{932758E7-0378-4C68-82EB-4574CC12761D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967604" y="1369141"/>
            <a:ext cx="959428" cy="361671"/>
          </a:xfrm>
          <a:prstGeom prst="rect">
            <a:avLst/>
          </a:prstGeom>
        </p:spPr>
      </p:pic>
      <p:sp>
        <p:nvSpPr>
          <p:cNvPr id="135" name="Rectangle 159">
            <a:extLst>
              <a:ext uri="{FF2B5EF4-FFF2-40B4-BE49-F238E27FC236}">
                <a16:creationId xmlns:a16="http://schemas.microsoft.com/office/drawing/2014/main" id="{8B3316C5-36C4-4446-BEEF-3C49D700D1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47437" y="1734320"/>
            <a:ext cx="10185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t">
            <a:spAutoFit/>
          </a:bodyPr>
          <a:lstStyle>
            <a:lvl1pPr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300"/>
              </a:spcBef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en-US" sz="1100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 </a:t>
            </a:r>
            <a:r>
              <a:rPr lang="en-US" altLang="en-US" sz="1100" err="1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Trodelvy</a:t>
            </a:r>
            <a:r>
              <a:rPr lang="en-US" altLang="en-US" sz="1100">
                <a:solidFill>
                  <a:srgbClr val="444646"/>
                </a:solidFill>
                <a:latin typeface="Calibri Light"/>
                <a:ea typeface="MS PGothic"/>
                <a:cs typeface="Arial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379823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8817A0-8BFF-1F40-A1DF-55982A9E5D2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/>
              <a:t>What do we do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A71D61-79E5-B841-BAC2-2AEE9BA8D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7</a:t>
            </a:fld>
            <a:endParaRPr lang="en-US"/>
          </a:p>
        </p:txBody>
      </p:sp>
      <p:graphicFrame>
        <p:nvGraphicFramePr>
          <p:cNvPr id="17" name="Text Placeholder 2">
            <a:extLst>
              <a:ext uri="{FF2B5EF4-FFF2-40B4-BE49-F238E27FC236}">
                <a16:creationId xmlns:a16="http://schemas.microsoft.com/office/drawing/2014/main" id="{7EA08DA7-2394-40CC-A580-3C4BFCFC1D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0208297"/>
              </p:ext>
            </p:extLst>
          </p:nvPr>
        </p:nvGraphicFramePr>
        <p:xfrm>
          <a:off x="4606972" y="800327"/>
          <a:ext cx="7157992" cy="5257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396131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39">
            <a:extLst>
              <a:ext uri="{FF2B5EF4-FFF2-40B4-BE49-F238E27FC236}">
                <a16:creationId xmlns:a16="http://schemas.microsoft.com/office/drawing/2014/main" id="{8A64CF47-DCFD-5E4F-9419-0C928102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lecting a Molecule for Development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284932E-FEE2-AD48-9AE9-C39F6972B2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Potentially screen hundreds of compounds before selecting the right molecule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>
                <a:latin typeface="Trebuchet MS"/>
              </a:rPr>
              <a:t>Collaboration with research departments (i.e. Biology, Medicinal Chemistry, and Drug Metabolism)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/>
              <a:t>Preclinical studies in multiple species to characterize pharmacokinetic properties of molecule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/>
              <a:t>Some characterization of physical and chemical properties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/>
              <a:t>Limited formulation development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/>
              <a:t>Toxicology stud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A95E15-02AE-B64B-857D-D16416ED6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4512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6FF94-96EF-7C40-B83E-1D38B035AD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racterizing a Small-Molecule Drug (Preformulation)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F05FDB8-D98D-BB47-98F3-3338D79E375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Solution stability (pH, temperature, peroxide, metals, radicals, photo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Solid-state physical and chemical stability (temperature, humidity, photo)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pKa determina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Crystal form screeni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Biopharmaceutical performance evalua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BCS classification</a:t>
            </a:r>
          </a:p>
          <a:p>
            <a:pPr marL="301625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7DE502-7BF3-3344-A1D9-370FA37560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A09E-D67E-864E-8466-C38E88600C4F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A3E50544-4E42-A74E-B8E1-C9AF9EC0F71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Thermal analysis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Moisture sorption isotherm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Surface and filter adsorp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pH solubility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Intrinsic water solubility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Solubility in biorelevant media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/>
              <a:t>Solubility in solvents and pharmaceutical excipients</a:t>
            </a:r>
          </a:p>
        </p:txBody>
      </p:sp>
    </p:spTree>
    <p:extLst>
      <p:ext uri="{BB962C8B-B14F-4D97-AF65-F5344CB8AC3E}">
        <p14:creationId xmlns:p14="http://schemas.microsoft.com/office/powerpoint/2010/main" val="1894225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bRtboKRGSPR7y3VYAIsA"/>
</p:tagLst>
</file>

<file path=ppt/theme/theme1.xml><?xml version="1.0" encoding="utf-8"?>
<a:theme xmlns:a="http://schemas.openxmlformats.org/drawingml/2006/main" name="Creating Possible">
  <a:themeElements>
    <a:clrScheme name="Custom 19">
      <a:dk1>
        <a:srgbClr val="54565B"/>
      </a:dk1>
      <a:lt1>
        <a:srgbClr val="FFFFFF"/>
      </a:lt1>
      <a:dk2>
        <a:srgbClr val="C50E3C"/>
      </a:dk2>
      <a:lt2>
        <a:srgbClr val="C6CAC6"/>
      </a:lt2>
      <a:accent1>
        <a:srgbClr val="203661"/>
      </a:accent1>
      <a:accent2>
        <a:srgbClr val="3C587F"/>
      </a:accent2>
      <a:accent3>
        <a:srgbClr val="8DC1C5"/>
      </a:accent3>
      <a:accent4>
        <a:srgbClr val="688C38"/>
      </a:accent4>
      <a:accent5>
        <a:srgbClr val="AEB618"/>
      </a:accent5>
      <a:accent6>
        <a:srgbClr val="000000"/>
      </a:accent6>
      <a:hlink>
        <a:srgbClr val="3A6C8A"/>
      </a:hlink>
      <a:folHlink>
        <a:srgbClr val="8F7F9E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E3C986876F2A45B8DD7FBAF1822764" ma:contentTypeVersion="12" ma:contentTypeDescription="Create a new document." ma:contentTypeScope="" ma:versionID="f7b343b58613eaa391266975b72f8c05">
  <xsd:schema xmlns:xsd="http://www.w3.org/2001/XMLSchema" xmlns:xs="http://www.w3.org/2001/XMLSchema" xmlns:p="http://schemas.microsoft.com/office/2006/metadata/properties" xmlns:ns3="fb3150b3-10b1-4a34-bbf0-86104fca5450" xmlns:ns4="5e747d73-f627-4129-83ef-95075365e094" targetNamespace="http://schemas.microsoft.com/office/2006/metadata/properties" ma:root="true" ma:fieldsID="8b5cd721cc97a05d0250bd9750697438" ns3:_="" ns4:_="">
    <xsd:import namespace="fb3150b3-10b1-4a34-bbf0-86104fca5450"/>
    <xsd:import namespace="5e747d73-f627-4129-83ef-95075365e09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3150b3-10b1-4a34-bbf0-86104fca545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747d73-f627-4129-83ef-95075365e0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EF97FB6-CC2F-4D9F-9DCE-7304097C73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3150b3-10b1-4a34-bbf0-86104fca5450"/>
    <ds:schemaRef ds:uri="5e747d73-f627-4129-83ef-95075365e0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1E425F-E017-4618-A5FE-050B6E31DBF6}">
  <ds:schemaRefs>
    <ds:schemaRef ds:uri="http://schemas.microsoft.com/office/infopath/2007/PartnerControls"/>
    <ds:schemaRef ds:uri="fb3150b3-10b1-4a34-bbf0-86104fca5450"/>
    <ds:schemaRef ds:uri="http://purl.org/dc/elements/1.1/"/>
    <ds:schemaRef ds:uri="http://schemas.microsoft.com/office/2006/metadata/properties"/>
    <ds:schemaRef ds:uri="5e747d73-f627-4129-83ef-95075365e09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C9F0F3E-6DE8-4255-847E-E2F58277DC3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31</Words>
  <Application>Microsoft Office PowerPoint</Application>
  <PresentationFormat>Widescreen</PresentationFormat>
  <Paragraphs>250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pple Symbols</vt:lpstr>
      <vt:lpstr>Arial</vt:lpstr>
      <vt:lpstr>Calibri</vt:lpstr>
      <vt:lpstr>Calibri Light</vt:lpstr>
      <vt:lpstr>Georgia</vt:lpstr>
      <vt:lpstr>Proxima Nova Regular</vt:lpstr>
      <vt:lpstr>Trebuchet MS</vt:lpstr>
      <vt:lpstr>Trebuchet MS Regular</vt:lpstr>
      <vt:lpstr>Wingdings</vt:lpstr>
      <vt:lpstr>Creating Possible</vt:lpstr>
      <vt:lpstr>think-cell Slide</vt:lpstr>
      <vt:lpstr>Alumni presentation:  Gilead Sciences, Inc. </vt:lpstr>
      <vt:lpstr>Casey’s Background</vt:lpstr>
      <vt:lpstr>Marisa’s Background</vt:lpstr>
      <vt:lpstr>Gilead Sciences, Inc.</vt:lpstr>
      <vt:lpstr>Therapeutic Areas</vt:lpstr>
      <vt:lpstr>Timeline of FDA Approved Products</vt:lpstr>
      <vt:lpstr>PowerPoint Presentation</vt:lpstr>
      <vt:lpstr>Selecting a Molecule for Development</vt:lpstr>
      <vt:lpstr>Characterizing a Small-Molecule Drug (Preformulation)</vt:lpstr>
      <vt:lpstr>Characterizing a Small-Molecule Drug (Preformulation)</vt:lpstr>
      <vt:lpstr>Form Selection</vt:lpstr>
      <vt:lpstr>Development for Clinical Trials &amp; Commercial Use</vt:lpstr>
      <vt:lpstr>Tablet Manufacturing</vt:lpstr>
      <vt:lpstr>FPD Involvement in Commercialization of the Drug Product</vt:lpstr>
      <vt:lpstr>Report Writing</vt:lpstr>
      <vt:lpstr>Case study: Nitrosamine Risk Assessment Task Force</vt:lpstr>
      <vt:lpstr>Case study: an international collaboration in the midst of a global pandemic</vt:lpstr>
      <vt:lpstr>Career Advi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sa Thierheimer</dc:creator>
  <cp:lastModifiedBy>Casey Hurley</cp:lastModifiedBy>
  <cp:revision>1</cp:revision>
  <dcterms:created xsi:type="dcterms:W3CDTF">2021-02-22T22:08:42Z</dcterms:created>
  <dcterms:modified xsi:type="dcterms:W3CDTF">2021-04-28T16:0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E3C986876F2A45B8DD7FBAF1822764</vt:lpwstr>
  </property>
</Properties>
</file>